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1"/>
  </p:notesMasterIdLst>
  <p:handoutMasterIdLst>
    <p:handoutMasterId r:id="rId22"/>
  </p:handoutMasterIdLst>
  <p:sldIdLst>
    <p:sldId id="493" r:id="rId5"/>
    <p:sldId id="597" r:id="rId6"/>
    <p:sldId id="653" r:id="rId7"/>
    <p:sldId id="652" r:id="rId8"/>
    <p:sldId id="650" r:id="rId9"/>
    <p:sldId id="638" r:id="rId10"/>
    <p:sldId id="661" r:id="rId11"/>
    <p:sldId id="662" r:id="rId12"/>
    <p:sldId id="665" r:id="rId13"/>
    <p:sldId id="666" r:id="rId14"/>
    <p:sldId id="663" r:id="rId15"/>
    <p:sldId id="660" r:id="rId16"/>
    <p:sldId id="656" r:id="rId17"/>
    <p:sldId id="657" r:id="rId18"/>
    <p:sldId id="659" r:id="rId19"/>
    <p:sldId id="606"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CE Mortgage Technology Template 2020" id="{4B9C277E-F7A8-4F32-ADB8-E7896A7D21D2}">
          <p14:sldIdLst>
            <p14:sldId id="493"/>
            <p14:sldId id="597"/>
            <p14:sldId id="653"/>
            <p14:sldId id="652"/>
            <p14:sldId id="650"/>
            <p14:sldId id="638"/>
            <p14:sldId id="661"/>
            <p14:sldId id="662"/>
            <p14:sldId id="665"/>
            <p14:sldId id="666"/>
            <p14:sldId id="663"/>
            <p14:sldId id="660"/>
            <p14:sldId id="656"/>
            <p14:sldId id="657"/>
            <p14:sldId id="659"/>
            <p14:sldId id="606"/>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Office [13]" lastIdx="1" clrIdx="0"/>
  <p:cmAuthor id="2" name="Neha Khandelwal" initials="NK" lastIdx="1" clrIdx="1">
    <p:extLst>
      <p:ext uri="{19B8F6BF-5375-455C-9EA6-DF929625EA0E}">
        <p15:presenceInfo xmlns:p15="http://schemas.microsoft.com/office/powerpoint/2012/main" userId="S::Neha.Khandelwal@elliemae.com::42e35682-ebe5-4d90-ba3a-2b9c637cc3be" providerId="AD"/>
      </p:ext>
    </p:extLst>
  </p:cmAuthor>
  <p:cmAuthor id="3" name="Chetan Yadav" initials="CY" lastIdx="1" clrIdx="2">
    <p:extLst>
      <p:ext uri="{19B8F6BF-5375-455C-9EA6-DF929625EA0E}">
        <p15:presenceInfo xmlns:p15="http://schemas.microsoft.com/office/powerpoint/2012/main" userId="Chetan Yadav"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5181"/>
    <a:srgbClr val="003555"/>
    <a:srgbClr val="39A154"/>
    <a:srgbClr val="8AE7FF"/>
    <a:srgbClr val="0069A8"/>
    <a:srgbClr val="004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11D874-6D74-4A93-8F3A-37F0F685868B}" v="648" dt="2022-08-18T04:52:15.1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12" autoAdjust="0"/>
    <p:restoredTop sz="94830" autoAdjust="0"/>
  </p:normalViewPr>
  <p:slideViewPr>
    <p:cSldViewPr>
      <p:cViewPr varScale="1">
        <p:scale>
          <a:sx n="68" d="100"/>
          <a:sy n="68" d="100"/>
        </p:scale>
        <p:origin x="942" y="60"/>
      </p:cViewPr>
      <p:guideLst>
        <p:guide orient="horz" pos="2160"/>
        <p:guide pos="3840"/>
      </p:guideLst>
    </p:cSldViewPr>
  </p:slideViewPr>
  <p:notesTextViewPr>
    <p:cViewPr>
      <p:scale>
        <a:sx n="1" d="1"/>
        <a:sy n="1" d="1"/>
      </p:scale>
      <p:origin x="0" y="0"/>
    </p:cViewPr>
  </p:notesTextViewPr>
  <p:sorterViewPr>
    <p:cViewPr>
      <p:scale>
        <a:sx n="46" d="100"/>
        <a:sy n="46" d="100"/>
      </p:scale>
      <p:origin x="0" y="-104"/>
    </p:cViewPr>
  </p:sorterViewPr>
  <p:notesViewPr>
    <p:cSldViewPr>
      <p:cViewPr varScale="1">
        <p:scale>
          <a:sx n="59" d="100"/>
          <a:sy n="59" d="100"/>
        </p:scale>
        <p:origin x="2755" y="58"/>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mkar Sonar" userId="d9d77359-733b-4e14-9c8a-6c2c230cf1c2" providerId="ADAL" clId="{3B174852-E69A-4250-9CCD-21107B06A1AB}"/>
    <pc:docChg chg="undo redo custSel addSld delSld modSld sldOrd modSection">
      <pc:chgData name="Omkar Sonar" userId="d9d77359-733b-4e14-9c8a-6c2c230cf1c2" providerId="ADAL" clId="{3B174852-E69A-4250-9CCD-21107B06A1AB}" dt="2022-03-15T12:04:45.380" v="3822" actId="242"/>
      <pc:docMkLst>
        <pc:docMk/>
      </pc:docMkLst>
      <pc:sldChg chg="modSp mod">
        <pc:chgData name="Omkar Sonar" userId="d9d77359-733b-4e14-9c8a-6c2c230cf1c2" providerId="ADAL" clId="{3B174852-E69A-4250-9CCD-21107B06A1AB}" dt="2022-03-14T10:38:00.401" v="926" actId="20577"/>
        <pc:sldMkLst>
          <pc:docMk/>
          <pc:sldMk cId="3752410796" sldId="493"/>
        </pc:sldMkLst>
        <pc:spChg chg="mod">
          <ac:chgData name="Omkar Sonar" userId="d9d77359-733b-4e14-9c8a-6c2c230cf1c2" providerId="ADAL" clId="{3B174852-E69A-4250-9CCD-21107B06A1AB}" dt="2022-03-14T10:38:00.401" v="926" actId="20577"/>
          <ac:spMkLst>
            <pc:docMk/>
            <pc:sldMk cId="3752410796" sldId="493"/>
            <ac:spMk id="3" creationId="{CEDCAA8A-1736-A84E-8D0C-5BAB64C4E63B}"/>
          </ac:spMkLst>
        </pc:spChg>
      </pc:sldChg>
      <pc:sldChg chg="modSp mod">
        <pc:chgData name="Omkar Sonar" userId="d9d77359-733b-4e14-9c8a-6c2c230cf1c2" providerId="ADAL" clId="{3B174852-E69A-4250-9CCD-21107B06A1AB}" dt="2022-03-14T12:15:11.473" v="2959" actId="20577"/>
        <pc:sldMkLst>
          <pc:docMk/>
          <pc:sldMk cId="3476382476" sldId="597"/>
        </pc:sldMkLst>
        <pc:spChg chg="mod">
          <ac:chgData name="Omkar Sonar" userId="d9d77359-733b-4e14-9c8a-6c2c230cf1c2" providerId="ADAL" clId="{3B174852-E69A-4250-9CCD-21107B06A1AB}" dt="2022-03-14T12:15:11.473" v="2959" actId="20577"/>
          <ac:spMkLst>
            <pc:docMk/>
            <pc:sldMk cId="3476382476" sldId="597"/>
            <ac:spMk id="8" creationId="{7F5477FF-C1F9-48DD-B33A-7468ED2EB0B6}"/>
          </ac:spMkLst>
        </pc:spChg>
      </pc:sldChg>
      <pc:sldChg chg="del">
        <pc:chgData name="Omkar Sonar" userId="d9d77359-733b-4e14-9c8a-6c2c230cf1c2" providerId="ADAL" clId="{3B174852-E69A-4250-9CCD-21107B06A1AB}" dt="2022-03-14T10:16:45.437" v="9" actId="47"/>
        <pc:sldMkLst>
          <pc:docMk/>
          <pc:sldMk cId="357460431" sldId="598"/>
        </pc:sldMkLst>
      </pc:sldChg>
      <pc:sldChg chg="del">
        <pc:chgData name="Omkar Sonar" userId="d9d77359-733b-4e14-9c8a-6c2c230cf1c2" providerId="ADAL" clId="{3B174852-E69A-4250-9CCD-21107B06A1AB}" dt="2022-03-14T10:16:44.451" v="8" actId="47"/>
        <pc:sldMkLst>
          <pc:docMk/>
          <pc:sldMk cId="4103382282" sldId="600"/>
        </pc:sldMkLst>
      </pc:sldChg>
      <pc:sldChg chg="del">
        <pc:chgData name="Omkar Sonar" userId="d9d77359-733b-4e14-9c8a-6c2c230cf1c2" providerId="ADAL" clId="{3B174852-E69A-4250-9CCD-21107B06A1AB}" dt="2022-03-14T10:16:43.231" v="7" actId="47"/>
        <pc:sldMkLst>
          <pc:docMk/>
          <pc:sldMk cId="423184008" sldId="601"/>
        </pc:sldMkLst>
      </pc:sldChg>
      <pc:sldChg chg="delSp mod">
        <pc:chgData name="Omkar Sonar" userId="d9d77359-733b-4e14-9c8a-6c2c230cf1c2" providerId="ADAL" clId="{3B174852-E69A-4250-9CCD-21107B06A1AB}" dt="2022-03-14T12:16:26.384" v="2960" actId="478"/>
        <pc:sldMkLst>
          <pc:docMk/>
          <pc:sldMk cId="3202032304" sldId="618"/>
        </pc:sldMkLst>
        <pc:spChg chg="del">
          <ac:chgData name="Omkar Sonar" userId="d9d77359-733b-4e14-9c8a-6c2c230cf1c2" providerId="ADAL" clId="{3B174852-E69A-4250-9CCD-21107B06A1AB}" dt="2022-03-14T12:16:26.384" v="2960" actId="478"/>
          <ac:spMkLst>
            <pc:docMk/>
            <pc:sldMk cId="3202032304" sldId="618"/>
            <ac:spMk id="2" creationId="{2A141632-6993-453D-812C-1F10A77458AF}"/>
          </ac:spMkLst>
        </pc:spChg>
      </pc:sldChg>
      <pc:sldChg chg="del">
        <pc:chgData name="Omkar Sonar" userId="d9d77359-733b-4e14-9c8a-6c2c230cf1c2" providerId="ADAL" clId="{3B174852-E69A-4250-9CCD-21107B06A1AB}" dt="2022-03-14T12:09:00.966" v="2763" actId="47"/>
        <pc:sldMkLst>
          <pc:docMk/>
          <pc:sldMk cId="1530346034" sldId="634"/>
        </pc:sldMkLst>
      </pc:sldChg>
      <pc:sldChg chg="del">
        <pc:chgData name="Omkar Sonar" userId="d9d77359-733b-4e14-9c8a-6c2c230cf1c2" providerId="ADAL" clId="{3B174852-E69A-4250-9CCD-21107B06A1AB}" dt="2022-03-14T10:16:40.324" v="6" actId="47"/>
        <pc:sldMkLst>
          <pc:docMk/>
          <pc:sldMk cId="2244091249" sldId="636"/>
        </pc:sldMkLst>
      </pc:sldChg>
      <pc:sldChg chg="addSp delSp mod">
        <pc:chgData name="Omkar Sonar" userId="d9d77359-733b-4e14-9c8a-6c2c230cf1c2" providerId="ADAL" clId="{3B174852-E69A-4250-9CCD-21107B06A1AB}" dt="2022-03-14T10:37:31.512" v="923" actId="478"/>
        <pc:sldMkLst>
          <pc:docMk/>
          <pc:sldMk cId="1644741381" sldId="637"/>
        </pc:sldMkLst>
        <pc:spChg chg="add del">
          <ac:chgData name="Omkar Sonar" userId="d9d77359-733b-4e14-9c8a-6c2c230cf1c2" providerId="ADAL" clId="{3B174852-E69A-4250-9CCD-21107B06A1AB}" dt="2022-03-14T10:37:31.512" v="923" actId="478"/>
          <ac:spMkLst>
            <pc:docMk/>
            <pc:sldMk cId="1644741381" sldId="637"/>
            <ac:spMk id="2" creationId="{2B907D57-8A2F-4BA1-8319-FD92E864A797}"/>
          </ac:spMkLst>
        </pc:spChg>
      </pc:sldChg>
      <pc:sldChg chg="ord">
        <pc:chgData name="Omkar Sonar" userId="d9d77359-733b-4e14-9c8a-6c2c230cf1c2" providerId="ADAL" clId="{3B174852-E69A-4250-9CCD-21107B06A1AB}" dt="2022-03-14T10:16:51.422" v="11"/>
        <pc:sldMkLst>
          <pc:docMk/>
          <pc:sldMk cId="4095082886" sldId="638"/>
        </pc:sldMkLst>
      </pc:sldChg>
      <pc:sldChg chg="del">
        <pc:chgData name="Omkar Sonar" userId="d9d77359-733b-4e14-9c8a-6c2c230cf1c2" providerId="ADAL" clId="{3B174852-E69A-4250-9CCD-21107B06A1AB}" dt="2022-03-14T10:16:04.108" v="0" actId="47"/>
        <pc:sldMkLst>
          <pc:docMk/>
          <pc:sldMk cId="330131773" sldId="639"/>
        </pc:sldMkLst>
      </pc:sldChg>
      <pc:sldChg chg="del">
        <pc:chgData name="Omkar Sonar" userId="d9d77359-733b-4e14-9c8a-6c2c230cf1c2" providerId="ADAL" clId="{3B174852-E69A-4250-9CCD-21107B06A1AB}" dt="2022-03-14T10:16:05.364" v="1" actId="47"/>
        <pc:sldMkLst>
          <pc:docMk/>
          <pc:sldMk cId="3832707122" sldId="640"/>
        </pc:sldMkLst>
      </pc:sldChg>
      <pc:sldChg chg="del">
        <pc:chgData name="Omkar Sonar" userId="d9d77359-733b-4e14-9c8a-6c2c230cf1c2" providerId="ADAL" clId="{3B174852-E69A-4250-9CCD-21107B06A1AB}" dt="2022-03-14T10:16:06.288" v="2" actId="47"/>
        <pc:sldMkLst>
          <pc:docMk/>
          <pc:sldMk cId="297660558" sldId="641"/>
        </pc:sldMkLst>
      </pc:sldChg>
      <pc:sldChg chg="addSp delSp modSp mod">
        <pc:chgData name="Omkar Sonar" userId="d9d77359-733b-4e14-9c8a-6c2c230cf1c2" providerId="ADAL" clId="{3B174852-E69A-4250-9CCD-21107B06A1AB}" dt="2022-03-14T11:06:09.504" v="1136" actId="20577"/>
        <pc:sldMkLst>
          <pc:docMk/>
          <pc:sldMk cId="4195252996" sldId="644"/>
        </pc:sldMkLst>
        <pc:spChg chg="mod">
          <ac:chgData name="Omkar Sonar" userId="d9d77359-733b-4e14-9c8a-6c2c230cf1c2" providerId="ADAL" clId="{3B174852-E69A-4250-9CCD-21107B06A1AB}" dt="2022-03-14T11:06:09.504" v="1136" actId="20577"/>
          <ac:spMkLst>
            <pc:docMk/>
            <pc:sldMk cId="4195252996" sldId="644"/>
            <ac:spMk id="5" creationId="{FCCF3808-435A-4E9D-895A-D83D62BECE10}"/>
          </ac:spMkLst>
        </pc:spChg>
        <pc:graphicFrameChg chg="del">
          <ac:chgData name="Omkar Sonar" userId="d9d77359-733b-4e14-9c8a-6c2c230cf1c2" providerId="ADAL" clId="{3B174852-E69A-4250-9CCD-21107B06A1AB}" dt="2022-03-14T10:34:38.992" v="890" actId="478"/>
          <ac:graphicFrameMkLst>
            <pc:docMk/>
            <pc:sldMk cId="4195252996" sldId="644"/>
            <ac:graphicFrameMk id="2" creationId="{69286CCF-094E-48F6-8292-7F4578522647}"/>
          </ac:graphicFrameMkLst>
        </pc:graphicFrameChg>
        <pc:graphicFrameChg chg="add del mod">
          <ac:chgData name="Omkar Sonar" userId="d9d77359-733b-4e14-9c8a-6c2c230cf1c2" providerId="ADAL" clId="{3B174852-E69A-4250-9CCD-21107B06A1AB}" dt="2022-03-14T10:35:35.026" v="900"/>
          <ac:graphicFrameMkLst>
            <pc:docMk/>
            <pc:sldMk cId="4195252996" sldId="644"/>
            <ac:graphicFrameMk id="4" creationId="{A07C6FD2-7F9C-49CD-8A60-F440E2926712}"/>
          </ac:graphicFrameMkLst>
        </pc:graphicFrameChg>
        <pc:graphicFrameChg chg="add mod modGraphic">
          <ac:chgData name="Omkar Sonar" userId="d9d77359-733b-4e14-9c8a-6c2c230cf1c2" providerId="ADAL" clId="{3B174852-E69A-4250-9CCD-21107B06A1AB}" dt="2022-03-14T10:49:20.912" v="1117" actId="114"/>
          <ac:graphicFrameMkLst>
            <pc:docMk/>
            <pc:sldMk cId="4195252996" sldId="644"/>
            <ac:graphicFrameMk id="6" creationId="{DAAEBAC8-DF9D-498B-A121-7F136C3BA455}"/>
          </ac:graphicFrameMkLst>
        </pc:graphicFrameChg>
      </pc:sldChg>
      <pc:sldChg chg="addSp delSp modSp mod ord">
        <pc:chgData name="Omkar Sonar" userId="d9d77359-733b-4e14-9c8a-6c2c230cf1c2" providerId="ADAL" clId="{3B174852-E69A-4250-9CCD-21107B06A1AB}" dt="2022-03-14T12:05:06.138" v="2762" actId="20577"/>
        <pc:sldMkLst>
          <pc:docMk/>
          <pc:sldMk cId="1487256377" sldId="646"/>
        </pc:sldMkLst>
        <pc:spChg chg="mod">
          <ac:chgData name="Omkar Sonar" userId="d9d77359-733b-4e14-9c8a-6c2c230cf1c2" providerId="ADAL" clId="{3B174852-E69A-4250-9CCD-21107B06A1AB}" dt="2022-03-14T12:05:06.138" v="2762" actId="20577"/>
          <ac:spMkLst>
            <pc:docMk/>
            <pc:sldMk cId="1487256377" sldId="646"/>
            <ac:spMk id="2" creationId="{D5000455-59CC-4D50-AEAA-C27AF9516283}"/>
          </ac:spMkLst>
        </pc:spChg>
        <pc:spChg chg="add mod ord">
          <ac:chgData name="Omkar Sonar" userId="d9d77359-733b-4e14-9c8a-6c2c230cf1c2" providerId="ADAL" clId="{3B174852-E69A-4250-9CCD-21107B06A1AB}" dt="2022-03-14T11:43:49.614" v="2377" actId="1037"/>
          <ac:spMkLst>
            <pc:docMk/>
            <pc:sldMk cId="1487256377" sldId="646"/>
            <ac:spMk id="4" creationId="{4AED8016-7732-41FE-B879-3CA977363A40}"/>
          </ac:spMkLst>
        </pc:spChg>
        <pc:spChg chg="add mod">
          <ac:chgData name="Omkar Sonar" userId="d9d77359-733b-4e14-9c8a-6c2c230cf1c2" providerId="ADAL" clId="{3B174852-E69A-4250-9CCD-21107B06A1AB}" dt="2022-03-14T11:43:49.614" v="2377" actId="1037"/>
          <ac:spMkLst>
            <pc:docMk/>
            <pc:sldMk cId="1487256377" sldId="646"/>
            <ac:spMk id="6" creationId="{C9124066-7117-4B2F-AFCC-E79C234BF126}"/>
          </ac:spMkLst>
        </pc:spChg>
        <pc:spChg chg="del">
          <ac:chgData name="Omkar Sonar" userId="d9d77359-733b-4e14-9c8a-6c2c230cf1c2" providerId="ADAL" clId="{3B174852-E69A-4250-9CCD-21107B06A1AB}" dt="2022-03-14T11:17:51.664" v="1343" actId="478"/>
          <ac:spMkLst>
            <pc:docMk/>
            <pc:sldMk cId="1487256377" sldId="646"/>
            <ac:spMk id="7" creationId="{4BAA2CE4-77BB-4254-A4D6-8286B9782A52}"/>
          </ac:spMkLst>
        </pc:spChg>
        <pc:spChg chg="add mod">
          <ac:chgData name="Omkar Sonar" userId="d9d77359-733b-4e14-9c8a-6c2c230cf1c2" providerId="ADAL" clId="{3B174852-E69A-4250-9CCD-21107B06A1AB}" dt="2022-03-14T11:43:49.614" v="2377" actId="1037"/>
          <ac:spMkLst>
            <pc:docMk/>
            <pc:sldMk cId="1487256377" sldId="646"/>
            <ac:spMk id="8" creationId="{73860C80-782D-4C15-B4E1-587B78143EC3}"/>
          </ac:spMkLst>
        </pc:spChg>
        <pc:spChg chg="add mod">
          <ac:chgData name="Omkar Sonar" userId="d9d77359-733b-4e14-9c8a-6c2c230cf1c2" providerId="ADAL" clId="{3B174852-E69A-4250-9CCD-21107B06A1AB}" dt="2022-03-14T11:45:36.139" v="2387" actId="14100"/>
          <ac:spMkLst>
            <pc:docMk/>
            <pc:sldMk cId="1487256377" sldId="646"/>
            <ac:spMk id="9" creationId="{D3CF9448-2BA1-4421-9252-40352589E66C}"/>
          </ac:spMkLst>
        </pc:spChg>
        <pc:spChg chg="add mod">
          <ac:chgData name="Omkar Sonar" userId="d9d77359-733b-4e14-9c8a-6c2c230cf1c2" providerId="ADAL" clId="{3B174852-E69A-4250-9CCD-21107B06A1AB}" dt="2022-03-14T11:43:49.614" v="2377" actId="1037"/>
          <ac:spMkLst>
            <pc:docMk/>
            <pc:sldMk cId="1487256377" sldId="646"/>
            <ac:spMk id="20" creationId="{9114AEED-72AD-4F48-974B-5BC860FC9FBC}"/>
          </ac:spMkLst>
        </pc:spChg>
        <pc:spChg chg="add mod">
          <ac:chgData name="Omkar Sonar" userId="d9d77359-733b-4e14-9c8a-6c2c230cf1c2" providerId="ADAL" clId="{3B174852-E69A-4250-9CCD-21107B06A1AB}" dt="2022-03-14T11:43:49.614" v="2377" actId="1037"/>
          <ac:spMkLst>
            <pc:docMk/>
            <pc:sldMk cId="1487256377" sldId="646"/>
            <ac:spMk id="21" creationId="{E2FE8E51-8255-4540-AFBB-0C24E8C3A06C}"/>
          </ac:spMkLst>
        </pc:spChg>
        <pc:spChg chg="add mod ord">
          <ac:chgData name="Omkar Sonar" userId="d9d77359-733b-4e14-9c8a-6c2c230cf1c2" providerId="ADAL" clId="{3B174852-E69A-4250-9CCD-21107B06A1AB}" dt="2022-03-14T11:43:49.614" v="2377" actId="1037"/>
          <ac:spMkLst>
            <pc:docMk/>
            <pc:sldMk cId="1487256377" sldId="646"/>
            <ac:spMk id="24" creationId="{7C2F52D7-118B-40FB-BD68-4A83BB6EB74D}"/>
          </ac:spMkLst>
        </pc:spChg>
        <pc:spChg chg="mod">
          <ac:chgData name="Omkar Sonar" userId="d9d77359-733b-4e14-9c8a-6c2c230cf1c2" providerId="ADAL" clId="{3B174852-E69A-4250-9CCD-21107B06A1AB}" dt="2022-03-14T11:44:00.407" v="2382" actId="6549"/>
          <ac:spMkLst>
            <pc:docMk/>
            <pc:sldMk cId="1487256377" sldId="646"/>
            <ac:spMk id="46" creationId="{50F15880-802E-4B88-ABF9-5555CA34047F}"/>
          </ac:spMkLst>
        </pc:spChg>
        <pc:picChg chg="add mod modCrop">
          <ac:chgData name="Omkar Sonar" userId="d9d77359-733b-4e14-9c8a-6c2c230cf1c2" providerId="ADAL" clId="{3B174852-E69A-4250-9CCD-21107B06A1AB}" dt="2022-03-14T11:43:49.614" v="2377" actId="1037"/>
          <ac:picMkLst>
            <pc:docMk/>
            <pc:sldMk cId="1487256377" sldId="646"/>
            <ac:picMk id="5" creationId="{E4AF3B0E-9811-41A6-85E1-9944C4151965}"/>
          </ac:picMkLst>
        </pc:picChg>
        <pc:picChg chg="add mod">
          <ac:chgData name="Omkar Sonar" userId="d9d77359-733b-4e14-9c8a-6c2c230cf1c2" providerId="ADAL" clId="{3B174852-E69A-4250-9CCD-21107B06A1AB}" dt="2022-03-14T11:43:49.614" v="2377" actId="1037"/>
          <ac:picMkLst>
            <pc:docMk/>
            <pc:sldMk cId="1487256377" sldId="646"/>
            <ac:picMk id="10" creationId="{C13F883B-BFEE-4BE3-9163-CA9A0AFC3150}"/>
          </ac:picMkLst>
        </pc:picChg>
        <pc:picChg chg="add mod">
          <ac:chgData name="Omkar Sonar" userId="d9d77359-733b-4e14-9c8a-6c2c230cf1c2" providerId="ADAL" clId="{3B174852-E69A-4250-9CCD-21107B06A1AB}" dt="2022-03-14T11:43:49.614" v="2377" actId="1037"/>
          <ac:picMkLst>
            <pc:docMk/>
            <pc:sldMk cId="1487256377" sldId="646"/>
            <ac:picMk id="11" creationId="{0DE3F171-C599-4E86-80F7-B57E7E40D0DE}"/>
          </ac:picMkLst>
        </pc:picChg>
        <pc:picChg chg="add mod">
          <ac:chgData name="Omkar Sonar" userId="d9d77359-733b-4e14-9c8a-6c2c230cf1c2" providerId="ADAL" clId="{3B174852-E69A-4250-9CCD-21107B06A1AB}" dt="2022-03-14T11:43:49.614" v="2377" actId="1037"/>
          <ac:picMkLst>
            <pc:docMk/>
            <pc:sldMk cId="1487256377" sldId="646"/>
            <ac:picMk id="12" creationId="{AAF90544-B549-4A38-9403-83447F276776}"/>
          </ac:picMkLst>
        </pc:picChg>
        <pc:picChg chg="add mod">
          <ac:chgData name="Omkar Sonar" userId="d9d77359-733b-4e14-9c8a-6c2c230cf1c2" providerId="ADAL" clId="{3B174852-E69A-4250-9CCD-21107B06A1AB}" dt="2022-03-14T11:43:49.614" v="2377" actId="1037"/>
          <ac:picMkLst>
            <pc:docMk/>
            <pc:sldMk cId="1487256377" sldId="646"/>
            <ac:picMk id="13" creationId="{B0F6DAAE-888E-46B4-B24D-0478C8EE6248}"/>
          </ac:picMkLst>
        </pc:picChg>
        <pc:picChg chg="del">
          <ac:chgData name="Omkar Sonar" userId="d9d77359-733b-4e14-9c8a-6c2c230cf1c2" providerId="ADAL" clId="{3B174852-E69A-4250-9CCD-21107B06A1AB}" dt="2022-03-14T11:17:04.166" v="1340" actId="478"/>
          <ac:picMkLst>
            <pc:docMk/>
            <pc:sldMk cId="1487256377" sldId="646"/>
            <ac:picMk id="1026" creationId="{135038E3-2578-47EC-8AB2-947E94BC6B73}"/>
          </ac:picMkLst>
        </pc:picChg>
        <pc:picChg chg="add mod">
          <ac:chgData name="Omkar Sonar" userId="d9d77359-733b-4e14-9c8a-6c2c230cf1c2" providerId="ADAL" clId="{3B174852-E69A-4250-9CCD-21107B06A1AB}" dt="2022-03-14T11:43:49.614" v="2377" actId="1037"/>
          <ac:picMkLst>
            <pc:docMk/>
            <pc:sldMk cId="1487256377" sldId="646"/>
            <ac:picMk id="2050" creationId="{C897CC1F-D490-4813-8C38-E2DE20252409}"/>
          </ac:picMkLst>
        </pc:picChg>
        <pc:picChg chg="add mod">
          <ac:chgData name="Omkar Sonar" userId="d9d77359-733b-4e14-9c8a-6c2c230cf1c2" providerId="ADAL" clId="{3B174852-E69A-4250-9CCD-21107B06A1AB}" dt="2022-03-14T11:43:49.614" v="2377" actId="1037"/>
          <ac:picMkLst>
            <pc:docMk/>
            <pc:sldMk cId="1487256377" sldId="646"/>
            <ac:picMk id="2052" creationId="{3FC077F2-8C8A-495E-ADC1-10145696477F}"/>
          </ac:picMkLst>
        </pc:picChg>
        <pc:picChg chg="add del">
          <ac:chgData name="Omkar Sonar" userId="d9d77359-733b-4e14-9c8a-6c2c230cf1c2" providerId="ADAL" clId="{3B174852-E69A-4250-9CCD-21107B06A1AB}" dt="2022-03-14T11:25:23.865" v="1366" actId="478"/>
          <ac:picMkLst>
            <pc:docMk/>
            <pc:sldMk cId="1487256377" sldId="646"/>
            <ac:picMk id="2054" creationId="{90E12BC1-6DA3-4D29-886C-3CC14D1D7CDD}"/>
          </ac:picMkLst>
        </pc:picChg>
        <pc:picChg chg="add mod">
          <ac:chgData name="Omkar Sonar" userId="d9d77359-733b-4e14-9c8a-6c2c230cf1c2" providerId="ADAL" clId="{3B174852-E69A-4250-9CCD-21107B06A1AB}" dt="2022-03-14T11:43:49.614" v="2377" actId="1037"/>
          <ac:picMkLst>
            <pc:docMk/>
            <pc:sldMk cId="1487256377" sldId="646"/>
            <ac:picMk id="2056" creationId="{315966D8-4EDC-4401-A84E-FE2E1C0F8AB1}"/>
          </ac:picMkLst>
        </pc:picChg>
        <pc:picChg chg="add mod">
          <ac:chgData name="Omkar Sonar" userId="d9d77359-733b-4e14-9c8a-6c2c230cf1c2" providerId="ADAL" clId="{3B174852-E69A-4250-9CCD-21107B06A1AB}" dt="2022-03-14T11:43:49.614" v="2377" actId="1037"/>
          <ac:picMkLst>
            <pc:docMk/>
            <pc:sldMk cId="1487256377" sldId="646"/>
            <ac:picMk id="2058" creationId="{8D73EC06-DDD3-4765-81F9-50D15F0BE399}"/>
          </ac:picMkLst>
        </pc:picChg>
        <pc:picChg chg="add mod">
          <ac:chgData name="Omkar Sonar" userId="d9d77359-733b-4e14-9c8a-6c2c230cf1c2" providerId="ADAL" clId="{3B174852-E69A-4250-9CCD-21107B06A1AB}" dt="2022-03-14T11:43:49.614" v="2377" actId="1037"/>
          <ac:picMkLst>
            <pc:docMk/>
            <pc:sldMk cId="1487256377" sldId="646"/>
            <ac:picMk id="2060" creationId="{9164A585-7A3B-486F-BFF7-9AED69A4DDEB}"/>
          </ac:picMkLst>
        </pc:picChg>
      </pc:sldChg>
      <pc:sldChg chg="del">
        <pc:chgData name="Omkar Sonar" userId="d9d77359-733b-4e14-9c8a-6c2c230cf1c2" providerId="ADAL" clId="{3B174852-E69A-4250-9CCD-21107B06A1AB}" dt="2022-03-14T11:15:06.187" v="1290" actId="47"/>
        <pc:sldMkLst>
          <pc:docMk/>
          <pc:sldMk cId="986015352" sldId="647"/>
        </pc:sldMkLst>
      </pc:sldChg>
      <pc:sldChg chg="del">
        <pc:chgData name="Omkar Sonar" userId="d9d77359-733b-4e14-9c8a-6c2c230cf1c2" providerId="ADAL" clId="{3B174852-E69A-4250-9CCD-21107B06A1AB}" dt="2022-03-14T10:16:07.347" v="3" actId="47"/>
        <pc:sldMkLst>
          <pc:docMk/>
          <pc:sldMk cId="1308217917" sldId="648"/>
        </pc:sldMkLst>
      </pc:sldChg>
      <pc:sldChg chg="del">
        <pc:chgData name="Omkar Sonar" userId="d9d77359-733b-4e14-9c8a-6c2c230cf1c2" providerId="ADAL" clId="{3B174852-E69A-4250-9CCD-21107B06A1AB}" dt="2022-03-14T10:16:14.587" v="5" actId="47"/>
        <pc:sldMkLst>
          <pc:docMk/>
          <pc:sldMk cId="769722526" sldId="649"/>
        </pc:sldMkLst>
      </pc:sldChg>
      <pc:sldChg chg="modSp mod ord">
        <pc:chgData name="Omkar Sonar" userId="d9d77359-733b-4e14-9c8a-6c2c230cf1c2" providerId="ADAL" clId="{3B174852-E69A-4250-9CCD-21107B06A1AB}" dt="2022-03-14T12:12:46.751" v="2787" actId="20577"/>
        <pc:sldMkLst>
          <pc:docMk/>
          <pc:sldMk cId="1565232952" sldId="650"/>
        </pc:sldMkLst>
        <pc:spChg chg="mod">
          <ac:chgData name="Omkar Sonar" userId="d9d77359-733b-4e14-9c8a-6c2c230cf1c2" providerId="ADAL" clId="{3B174852-E69A-4250-9CCD-21107B06A1AB}" dt="2022-03-14T12:12:46.751" v="2787" actId="20577"/>
          <ac:spMkLst>
            <pc:docMk/>
            <pc:sldMk cId="1565232952" sldId="650"/>
            <ac:spMk id="5" creationId="{25B277E9-5748-449B-94AB-FB9426EDB5AA}"/>
          </ac:spMkLst>
        </pc:spChg>
      </pc:sldChg>
      <pc:sldChg chg="modSp mod">
        <pc:chgData name="Omkar Sonar" userId="d9d77359-733b-4e14-9c8a-6c2c230cf1c2" providerId="ADAL" clId="{3B174852-E69A-4250-9CCD-21107B06A1AB}" dt="2022-03-14T11:16:43.226" v="1339" actId="20577"/>
        <pc:sldMkLst>
          <pc:docMk/>
          <pc:sldMk cId="1185818047" sldId="651"/>
        </pc:sldMkLst>
        <pc:spChg chg="mod">
          <ac:chgData name="Omkar Sonar" userId="d9d77359-733b-4e14-9c8a-6c2c230cf1c2" providerId="ADAL" clId="{3B174852-E69A-4250-9CCD-21107B06A1AB}" dt="2022-03-14T11:16:43.226" v="1339" actId="20577"/>
          <ac:spMkLst>
            <pc:docMk/>
            <pc:sldMk cId="1185818047" sldId="651"/>
            <ac:spMk id="12" creationId="{AEA10FE1-621C-4AC6-9DF8-8B885D41E3F6}"/>
          </ac:spMkLst>
        </pc:spChg>
      </pc:sldChg>
      <pc:sldChg chg="addSp delSp modSp mod">
        <pc:chgData name="Omkar Sonar" userId="d9d77359-733b-4e14-9c8a-6c2c230cf1c2" providerId="ADAL" clId="{3B174852-E69A-4250-9CCD-21107B06A1AB}" dt="2022-03-14T11:12:50.453" v="1289" actId="14100"/>
        <pc:sldMkLst>
          <pc:docMk/>
          <pc:sldMk cId="153256197" sldId="652"/>
        </pc:sldMkLst>
        <pc:spChg chg="add del">
          <ac:chgData name="Omkar Sonar" userId="d9d77359-733b-4e14-9c8a-6c2c230cf1c2" providerId="ADAL" clId="{3B174852-E69A-4250-9CCD-21107B06A1AB}" dt="2022-03-14T11:06:45.700" v="1138" actId="478"/>
          <ac:spMkLst>
            <pc:docMk/>
            <pc:sldMk cId="153256197" sldId="652"/>
            <ac:spMk id="2" creationId="{B2A98875-1B3B-4920-82D6-48AE8AFDC8D6}"/>
          </ac:spMkLst>
        </pc:spChg>
        <pc:spChg chg="mod">
          <ac:chgData name="Omkar Sonar" userId="d9d77359-733b-4e14-9c8a-6c2c230cf1c2" providerId="ADAL" clId="{3B174852-E69A-4250-9CCD-21107B06A1AB}" dt="2022-03-14T11:12:36.085" v="1288" actId="1076"/>
          <ac:spMkLst>
            <pc:docMk/>
            <pc:sldMk cId="153256197" sldId="652"/>
            <ac:spMk id="6" creationId="{1F953723-1C94-4E4B-90F7-2D4F5079FB92}"/>
          </ac:spMkLst>
        </pc:spChg>
        <pc:spChg chg="add mod">
          <ac:chgData name="Omkar Sonar" userId="d9d77359-733b-4e14-9c8a-6c2c230cf1c2" providerId="ADAL" clId="{3B174852-E69A-4250-9CCD-21107B06A1AB}" dt="2022-03-14T11:12:09.208" v="1285" actId="14100"/>
          <ac:spMkLst>
            <pc:docMk/>
            <pc:sldMk cId="153256197" sldId="652"/>
            <ac:spMk id="7" creationId="{F5A93135-E532-4F6F-BB61-74992C7E5BA6}"/>
          </ac:spMkLst>
        </pc:spChg>
        <pc:spChg chg="add mod">
          <ac:chgData name="Omkar Sonar" userId="d9d77359-733b-4e14-9c8a-6c2c230cf1c2" providerId="ADAL" clId="{3B174852-E69A-4250-9CCD-21107B06A1AB}" dt="2022-03-14T11:11:57.131" v="1282" actId="14100"/>
          <ac:spMkLst>
            <pc:docMk/>
            <pc:sldMk cId="153256197" sldId="652"/>
            <ac:spMk id="56" creationId="{BC757345-89E9-4C29-89FA-C7997D97E832}"/>
          </ac:spMkLst>
        </pc:spChg>
        <pc:spChg chg="add mod">
          <ac:chgData name="Omkar Sonar" userId="d9d77359-733b-4e14-9c8a-6c2c230cf1c2" providerId="ADAL" clId="{3B174852-E69A-4250-9CCD-21107B06A1AB}" dt="2022-03-14T11:12:50.453" v="1289" actId="14100"/>
          <ac:spMkLst>
            <pc:docMk/>
            <pc:sldMk cId="153256197" sldId="652"/>
            <ac:spMk id="57" creationId="{FDE47E14-805C-4C19-887F-4C38321BAE96}"/>
          </ac:spMkLst>
        </pc:spChg>
        <pc:spChg chg="add mod">
          <ac:chgData name="Omkar Sonar" userId="d9d77359-733b-4e14-9c8a-6c2c230cf1c2" providerId="ADAL" clId="{3B174852-E69A-4250-9CCD-21107B06A1AB}" dt="2022-03-14T11:11:26.005" v="1278" actId="14100"/>
          <ac:spMkLst>
            <pc:docMk/>
            <pc:sldMk cId="153256197" sldId="652"/>
            <ac:spMk id="77" creationId="{26479C96-4080-4298-8C17-A4FEAF45C1B9}"/>
          </ac:spMkLst>
        </pc:spChg>
        <pc:spChg chg="add mod">
          <ac:chgData name="Omkar Sonar" userId="d9d77359-733b-4e14-9c8a-6c2c230cf1c2" providerId="ADAL" clId="{3B174852-E69A-4250-9CCD-21107B06A1AB}" dt="2022-03-14T11:11:45.307" v="1279" actId="14100"/>
          <ac:spMkLst>
            <pc:docMk/>
            <pc:sldMk cId="153256197" sldId="652"/>
            <ac:spMk id="78" creationId="{08FF759E-36B0-48E8-A459-461D103F0A3E}"/>
          </ac:spMkLst>
        </pc:spChg>
        <pc:spChg chg="add mod">
          <ac:chgData name="Omkar Sonar" userId="d9d77359-733b-4e14-9c8a-6c2c230cf1c2" providerId="ADAL" clId="{3B174852-E69A-4250-9CCD-21107B06A1AB}" dt="2022-03-14T11:12:22.475" v="1287" actId="1076"/>
          <ac:spMkLst>
            <pc:docMk/>
            <pc:sldMk cId="153256197" sldId="652"/>
            <ac:spMk id="79" creationId="{7CD62E4F-F9EC-4BC5-9F50-A806B98F5151}"/>
          </ac:spMkLst>
        </pc:spChg>
        <pc:cxnChg chg="mod">
          <ac:chgData name="Omkar Sonar" userId="d9d77359-733b-4e14-9c8a-6c2c230cf1c2" providerId="ADAL" clId="{3B174852-E69A-4250-9CCD-21107B06A1AB}" dt="2022-03-14T11:12:36.085" v="1288" actId="1076"/>
          <ac:cxnSpMkLst>
            <pc:docMk/>
            <pc:sldMk cId="153256197" sldId="652"/>
            <ac:cxnSpMk id="21" creationId="{E8F5CD68-D89E-447E-B9BA-88924B77A094}"/>
          </ac:cxnSpMkLst>
        </pc:cxnChg>
        <pc:cxnChg chg="mod">
          <ac:chgData name="Omkar Sonar" userId="d9d77359-733b-4e14-9c8a-6c2c230cf1c2" providerId="ADAL" clId="{3B174852-E69A-4250-9CCD-21107B06A1AB}" dt="2022-03-14T11:12:36.085" v="1288" actId="1076"/>
          <ac:cxnSpMkLst>
            <pc:docMk/>
            <pc:sldMk cId="153256197" sldId="652"/>
            <ac:cxnSpMk id="24" creationId="{EDFCFD17-7C5F-49A5-958E-41F0E7483B67}"/>
          </ac:cxnSpMkLst>
        </pc:cxnChg>
        <pc:cxnChg chg="mod">
          <ac:chgData name="Omkar Sonar" userId="d9d77359-733b-4e14-9c8a-6c2c230cf1c2" providerId="ADAL" clId="{3B174852-E69A-4250-9CCD-21107B06A1AB}" dt="2022-03-14T11:12:36.085" v="1288" actId="1076"/>
          <ac:cxnSpMkLst>
            <pc:docMk/>
            <pc:sldMk cId="153256197" sldId="652"/>
            <ac:cxnSpMk id="26" creationId="{ED1BDF9B-7F61-4B29-AB85-8734AB3F8B8B}"/>
          </ac:cxnSpMkLst>
        </pc:cxnChg>
        <pc:cxnChg chg="mod">
          <ac:chgData name="Omkar Sonar" userId="d9d77359-733b-4e14-9c8a-6c2c230cf1c2" providerId="ADAL" clId="{3B174852-E69A-4250-9CCD-21107B06A1AB}" dt="2022-03-14T11:12:36.085" v="1288" actId="1076"/>
          <ac:cxnSpMkLst>
            <pc:docMk/>
            <pc:sldMk cId="153256197" sldId="652"/>
            <ac:cxnSpMk id="28" creationId="{5231E7E2-EF2F-416C-88F9-4275D73E4F7D}"/>
          </ac:cxnSpMkLst>
        </pc:cxnChg>
      </pc:sldChg>
      <pc:sldChg chg="del">
        <pc:chgData name="Omkar Sonar" userId="d9d77359-733b-4e14-9c8a-6c2c230cf1c2" providerId="ADAL" clId="{3B174852-E69A-4250-9CCD-21107B06A1AB}" dt="2022-03-14T10:16:08.289" v="4" actId="47"/>
        <pc:sldMkLst>
          <pc:docMk/>
          <pc:sldMk cId="2427036407" sldId="653"/>
        </pc:sldMkLst>
      </pc:sldChg>
      <pc:sldChg chg="delSp modSp add mod ord">
        <pc:chgData name="Omkar Sonar" userId="d9d77359-733b-4e14-9c8a-6c2c230cf1c2" providerId="ADAL" clId="{3B174852-E69A-4250-9CCD-21107B06A1AB}" dt="2022-03-14T12:18:15.528" v="2974" actId="404"/>
        <pc:sldMkLst>
          <pc:docMk/>
          <pc:sldMk cId="3789773251" sldId="653"/>
        </pc:sldMkLst>
        <pc:spChg chg="mod">
          <ac:chgData name="Omkar Sonar" userId="d9d77359-733b-4e14-9c8a-6c2c230cf1c2" providerId="ADAL" clId="{3B174852-E69A-4250-9CCD-21107B06A1AB}" dt="2022-03-14T10:42:41.376" v="1090" actId="404"/>
          <ac:spMkLst>
            <pc:docMk/>
            <pc:sldMk cId="3789773251" sldId="653"/>
            <ac:spMk id="2" creationId="{D5000455-59CC-4D50-AEAA-C27AF9516283}"/>
          </ac:spMkLst>
        </pc:spChg>
        <pc:spChg chg="mod">
          <ac:chgData name="Omkar Sonar" userId="d9d77359-733b-4e14-9c8a-6c2c230cf1c2" providerId="ADAL" clId="{3B174852-E69A-4250-9CCD-21107B06A1AB}" dt="2022-03-14T12:18:15.528" v="2974" actId="404"/>
          <ac:spMkLst>
            <pc:docMk/>
            <pc:sldMk cId="3789773251" sldId="653"/>
            <ac:spMk id="7" creationId="{4BAA2CE4-77BB-4254-A4D6-8286B9782A52}"/>
          </ac:spMkLst>
        </pc:spChg>
        <pc:spChg chg="mod">
          <ac:chgData name="Omkar Sonar" userId="d9d77359-733b-4e14-9c8a-6c2c230cf1c2" providerId="ADAL" clId="{3B174852-E69A-4250-9CCD-21107B06A1AB}" dt="2022-03-14T10:37:41.632" v="924" actId="20577"/>
          <ac:spMkLst>
            <pc:docMk/>
            <pc:sldMk cId="3789773251" sldId="653"/>
            <ac:spMk id="46" creationId="{50F15880-802E-4B88-ABF9-5555CA34047F}"/>
          </ac:spMkLst>
        </pc:spChg>
        <pc:picChg chg="del">
          <ac:chgData name="Omkar Sonar" userId="d9d77359-733b-4e14-9c8a-6c2c230cf1c2" providerId="ADAL" clId="{3B174852-E69A-4250-9CCD-21107B06A1AB}" dt="2022-03-14T10:17:07.826" v="15" actId="478"/>
          <ac:picMkLst>
            <pc:docMk/>
            <pc:sldMk cId="3789773251" sldId="653"/>
            <ac:picMk id="1026" creationId="{135038E3-2578-47EC-8AB2-947E94BC6B73}"/>
          </ac:picMkLst>
        </pc:picChg>
      </pc:sldChg>
      <pc:sldChg chg="addSp delSp modSp add mod ord">
        <pc:chgData name="Omkar Sonar" userId="d9d77359-733b-4e14-9c8a-6c2c230cf1c2" providerId="ADAL" clId="{3B174852-E69A-4250-9CCD-21107B06A1AB}" dt="2022-03-14T12:01:35.297" v="2761" actId="20577"/>
        <pc:sldMkLst>
          <pc:docMk/>
          <pc:sldMk cId="2635560545" sldId="654"/>
        </pc:sldMkLst>
        <pc:spChg chg="del">
          <ac:chgData name="Omkar Sonar" userId="d9d77359-733b-4e14-9c8a-6c2c230cf1c2" providerId="ADAL" clId="{3B174852-E69A-4250-9CCD-21107B06A1AB}" dt="2022-03-14T11:52:26.175" v="2391" actId="478"/>
          <ac:spMkLst>
            <pc:docMk/>
            <pc:sldMk cId="2635560545" sldId="654"/>
            <ac:spMk id="3" creationId="{4962B0F1-C6FE-40D3-8242-75CF4D150398}"/>
          </ac:spMkLst>
        </pc:spChg>
        <pc:spChg chg="mod">
          <ac:chgData name="Omkar Sonar" userId="d9d77359-733b-4e14-9c8a-6c2c230cf1c2" providerId="ADAL" clId="{3B174852-E69A-4250-9CCD-21107B06A1AB}" dt="2022-03-14T12:01:35.297" v="2761" actId="20577"/>
          <ac:spMkLst>
            <pc:docMk/>
            <pc:sldMk cId="2635560545" sldId="654"/>
            <ac:spMk id="5" creationId="{FCCF3808-435A-4E9D-895A-D83D62BECE10}"/>
          </ac:spMkLst>
        </pc:spChg>
        <pc:spChg chg="del">
          <ac:chgData name="Omkar Sonar" userId="d9d77359-733b-4e14-9c8a-6c2c230cf1c2" providerId="ADAL" clId="{3B174852-E69A-4250-9CCD-21107B06A1AB}" dt="2022-03-14T11:52:26.175" v="2391" actId="478"/>
          <ac:spMkLst>
            <pc:docMk/>
            <pc:sldMk cId="2635560545" sldId="654"/>
            <ac:spMk id="7" creationId="{29B71F52-ED1E-46AA-A710-43C6950FFEBD}"/>
          </ac:spMkLst>
        </pc:spChg>
        <pc:spChg chg="del">
          <ac:chgData name="Omkar Sonar" userId="d9d77359-733b-4e14-9c8a-6c2c230cf1c2" providerId="ADAL" clId="{3B174852-E69A-4250-9CCD-21107B06A1AB}" dt="2022-03-14T11:52:26.175" v="2391" actId="478"/>
          <ac:spMkLst>
            <pc:docMk/>
            <pc:sldMk cId="2635560545" sldId="654"/>
            <ac:spMk id="9" creationId="{35B20C6D-010C-4FD7-B6EC-ABEC74253ED7}"/>
          </ac:spMkLst>
        </pc:spChg>
        <pc:spChg chg="del">
          <ac:chgData name="Omkar Sonar" userId="d9d77359-733b-4e14-9c8a-6c2c230cf1c2" providerId="ADAL" clId="{3B174852-E69A-4250-9CCD-21107B06A1AB}" dt="2022-03-14T11:52:26.175" v="2391" actId="478"/>
          <ac:spMkLst>
            <pc:docMk/>
            <pc:sldMk cId="2635560545" sldId="654"/>
            <ac:spMk id="10" creationId="{2E736E59-1650-4A1E-97FF-0B0062BBFEE1}"/>
          </ac:spMkLst>
        </pc:spChg>
        <pc:spChg chg="del">
          <ac:chgData name="Omkar Sonar" userId="d9d77359-733b-4e14-9c8a-6c2c230cf1c2" providerId="ADAL" clId="{3B174852-E69A-4250-9CCD-21107B06A1AB}" dt="2022-03-14T11:52:26.175" v="2391" actId="478"/>
          <ac:spMkLst>
            <pc:docMk/>
            <pc:sldMk cId="2635560545" sldId="654"/>
            <ac:spMk id="11" creationId="{7D92B556-CF3A-40E6-A84E-130A2780890F}"/>
          </ac:spMkLst>
        </pc:spChg>
        <pc:spChg chg="del">
          <ac:chgData name="Omkar Sonar" userId="d9d77359-733b-4e14-9c8a-6c2c230cf1c2" providerId="ADAL" clId="{3B174852-E69A-4250-9CCD-21107B06A1AB}" dt="2022-03-14T11:52:26.175" v="2391" actId="478"/>
          <ac:spMkLst>
            <pc:docMk/>
            <pc:sldMk cId="2635560545" sldId="654"/>
            <ac:spMk id="12" creationId="{B6E58538-07ED-4EDA-9E83-13089DB869AA}"/>
          </ac:spMkLst>
        </pc:spChg>
        <pc:spChg chg="del">
          <ac:chgData name="Omkar Sonar" userId="d9d77359-733b-4e14-9c8a-6c2c230cf1c2" providerId="ADAL" clId="{3B174852-E69A-4250-9CCD-21107B06A1AB}" dt="2022-03-14T11:52:26.175" v="2391" actId="478"/>
          <ac:spMkLst>
            <pc:docMk/>
            <pc:sldMk cId="2635560545" sldId="654"/>
            <ac:spMk id="13" creationId="{89F119AC-CBF9-4728-98A0-619693841F62}"/>
          </ac:spMkLst>
        </pc:spChg>
        <pc:spChg chg="add mod">
          <ac:chgData name="Omkar Sonar" userId="d9d77359-733b-4e14-9c8a-6c2c230cf1c2" providerId="ADAL" clId="{3B174852-E69A-4250-9CCD-21107B06A1AB}" dt="2022-03-14T11:57:26.885" v="2530" actId="122"/>
          <ac:spMkLst>
            <pc:docMk/>
            <pc:sldMk cId="2635560545" sldId="654"/>
            <ac:spMk id="16" creationId="{F47D1774-901D-440F-B742-351F4F45AB86}"/>
          </ac:spMkLst>
        </pc:spChg>
        <pc:spChg chg="add mod">
          <ac:chgData name="Omkar Sonar" userId="d9d77359-733b-4e14-9c8a-6c2c230cf1c2" providerId="ADAL" clId="{3B174852-E69A-4250-9CCD-21107B06A1AB}" dt="2022-03-14T11:58:34.689" v="2750" actId="1076"/>
          <ac:spMkLst>
            <pc:docMk/>
            <pc:sldMk cId="2635560545" sldId="654"/>
            <ac:spMk id="18" creationId="{722EAAE0-4CF1-4DFF-8A97-98D1F96719DA}"/>
          </ac:spMkLst>
        </pc:spChg>
        <pc:graphicFrameChg chg="del">
          <ac:chgData name="Omkar Sonar" userId="d9d77359-733b-4e14-9c8a-6c2c230cf1c2" providerId="ADAL" clId="{3B174852-E69A-4250-9CCD-21107B06A1AB}" dt="2022-03-14T11:52:26.175" v="2391" actId="478"/>
          <ac:graphicFrameMkLst>
            <pc:docMk/>
            <pc:sldMk cId="2635560545" sldId="654"/>
            <ac:graphicFrameMk id="6" creationId="{2369120B-93CF-452C-ACF5-E572E1659970}"/>
          </ac:graphicFrameMkLst>
        </pc:graphicFrameChg>
        <pc:graphicFrameChg chg="del">
          <ac:chgData name="Omkar Sonar" userId="d9d77359-733b-4e14-9c8a-6c2c230cf1c2" providerId="ADAL" clId="{3B174852-E69A-4250-9CCD-21107B06A1AB}" dt="2022-03-14T11:52:26.175" v="2391" actId="478"/>
          <ac:graphicFrameMkLst>
            <pc:docMk/>
            <pc:sldMk cId="2635560545" sldId="654"/>
            <ac:graphicFrameMk id="8" creationId="{EE827633-F064-4100-AD88-E96147F94793}"/>
          </ac:graphicFrameMkLst>
        </pc:graphicFrameChg>
        <pc:picChg chg="add mod">
          <ac:chgData name="Omkar Sonar" userId="d9d77359-733b-4e14-9c8a-6c2c230cf1c2" providerId="ADAL" clId="{3B174852-E69A-4250-9CCD-21107B06A1AB}" dt="2022-03-14T11:53:59.799" v="2461" actId="1038"/>
          <ac:picMkLst>
            <pc:docMk/>
            <pc:sldMk cId="2635560545" sldId="654"/>
            <ac:picMk id="4" creationId="{88C71280-53B1-4823-9488-FBF5FE3077D9}"/>
          </ac:picMkLst>
        </pc:picChg>
        <pc:picChg chg="add mod">
          <ac:chgData name="Omkar Sonar" userId="d9d77359-733b-4e14-9c8a-6c2c230cf1c2" providerId="ADAL" clId="{3B174852-E69A-4250-9CCD-21107B06A1AB}" dt="2022-03-14T11:53:30.965" v="2402" actId="1076"/>
          <ac:picMkLst>
            <pc:docMk/>
            <pc:sldMk cId="2635560545" sldId="654"/>
            <ac:picMk id="15" creationId="{8F4BE4CC-421A-4233-8589-F014B15CA8B3}"/>
          </ac:picMkLst>
        </pc:picChg>
      </pc:sldChg>
      <pc:sldChg chg="addSp delSp modSp add mod">
        <pc:chgData name="Omkar Sonar" userId="d9d77359-733b-4e14-9c8a-6c2c230cf1c2" providerId="ADAL" clId="{3B174852-E69A-4250-9CCD-21107B06A1AB}" dt="2022-03-15T12:04:45.380" v="3822" actId="242"/>
        <pc:sldMkLst>
          <pc:docMk/>
          <pc:sldMk cId="658039269" sldId="655"/>
        </pc:sldMkLst>
        <pc:spChg chg="del">
          <ac:chgData name="Omkar Sonar" userId="d9d77359-733b-4e14-9c8a-6c2c230cf1c2" providerId="ADAL" clId="{3B174852-E69A-4250-9CCD-21107B06A1AB}" dt="2022-03-15T11:30:40.052" v="2983" actId="478"/>
          <ac:spMkLst>
            <pc:docMk/>
            <pc:sldMk cId="658039269" sldId="655"/>
            <ac:spMk id="7" creationId="{29B71F52-ED1E-46AA-A710-43C6950FFEBD}"/>
          </ac:spMkLst>
        </pc:spChg>
        <pc:spChg chg="del">
          <ac:chgData name="Omkar Sonar" userId="d9d77359-733b-4e14-9c8a-6c2c230cf1c2" providerId="ADAL" clId="{3B174852-E69A-4250-9CCD-21107B06A1AB}" dt="2022-03-15T11:30:31.251" v="2977" actId="478"/>
          <ac:spMkLst>
            <pc:docMk/>
            <pc:sldMk cId="658039269" sldId="655"/>
            <ac:spMk id="9" creationId="{35B20C6D-010C-4FD7-B6EC-ABEC74253ED7}"/>
          </ac:spMkLst>
        </pc:spChg>
        <pc:spChg chg="del">
          <ac:chgData name="Omkar Sonar" userId="d9d77359-733b-4e14-9c8a-6c2c230cf1c2" providerId="ADAL" clId="{3B174852-E69A-4250-9CCD-21107B06A1AB}" dt="2022-03-15T11:30:35.298" v="2980" actId="478"/>
          <ac:spMkLst>
            <pc:docMk/>
            <pc:sldMk cId="658039269" sldId="655"/>
            <ac:spMk id="10" creationId="{2E736E59-1650-4A1E-97FF-0B0062BBFEE1}"/>
          </ac:spMkLst>
        </pc:spChg>
        <pc:spChg chg="del">
          <ac:chgData name="Omkar Sonar" userId="d9d77359-733b-4e14-9c8a-6c2c230cf1c2" providerId="ADAL" clId="{3B174852-E69A-4250-9CCD-21107B06A1AB}" dt="2022-03-15T11:30:34.552" v="2979" actId="478"/>
          <ac:spMkLst>
            <pc:docMk/>
            <pc:sldMk cId="658039269" sldId="655"/>
            <ac:spMk id="11" creationId="{7D92B556-CF3A-40E6-A84E-130A2780890F}"/>
          </ac:spMkLst>
        </pc:spChg>
        <pc:spChg chg="del">
          <ac:chgData name="Omkar Sonar" userId="d9d77359-733b-4e14-9c8a-6c2c230cf1c2" providerId="ADAL" clId="{3B174852-E69A-4250-9CCD-21107B06A1AB}" dt="2022-03-15T11:30:36.900" v="2981" actId="478"/>
          <ac:spMkLst>
            <pc:docMk/>
            <pc:sldMk cId="658039269" sldId="655"/>
            <ac:spMk id="12" creationId="{B6E58538-07ED-4EDA-9E83-13089DB869AA}"/>
          </ac:spMkLst>
        </pc:spChg>
        <pc:spChg chg="del">
          <ac:chgData name="Omkar Sonar" userId="d9d77359-733b-4e14-9c8a-6c2c230cf1c2" providerId="ADAL" clId="{3B174852-E69A-4250-9CCD-21107B06A1AB}" dt="2022-03-15T11:30:37.653" v="2982" actId="478"/>
          <ac:spMkLst>
            <pc:docMk/>
            <pc:sldMk cId="658039269" sldId="655"/>
            <ac:spMk id="13" creationId="{89F119AC-CBF9-4728-98A0-619693841F62}"/>
          </ac:spMkLst>
        </pc:spChg>
        <pc:graphicFrameChg chg="add mod modGraphic">
          <ac:chgData name="Omkar Sonar" userId="d9d77359-733b-4e14-9c8a-6c2c230cf1c2" providerId="ADAL" clId="{3B174852-E69A-4250-9CCD-21107B06A1AB}" dt="2022-03-15T12:04:45.380" v="3822" actId="242"/>
          <ac:graphicFrameMkLst>
            <pc:docMk/>
            <pc:sldMk cId="658039269" sldId="655"/>
            <ac:graphicFrameMk id="2" creationId="{6B98148B-8F90-48E2-AC2D-4A922E392104}"/>
          </ac:graphicFrameMkLst>
        </pc:graphicFrameChg>
        <pc:graphicFrameChg chg="del">
          <ac:chgData name="Omkar Sonar" userId="d9d77359-733b-4e14-9c8a-6c2c230cf1c2" providerId="ADAL" clId="{3B174852-E69A-4250-9CCD-21107B06A1AB}" dt="2022-03-15T11:30:29.317" v="2976" actId="478"/>
          <ac:graphicFrameMkLst>
            <pc:docMk/>
            <pc:sldMk cId="658039269" sldId="655"/>
            <ac:graphicFrameMk id="6" creationId="{2369120B-93CF-452C-ACF5-E572E1659970}"/>
          </ac:graphicFrameMkLst>
        </pc:graphicFrameChg>
        <pc:graphicFrameChg chg="del">
          <ac:chgData name="Omkar Sonar" userId="d9d77359-733b-4e14-9c8a-6c2c230cf1c2" providerId="ADAL" clId="{3B174852-E69A-4250-9CCD-21107B06A1AB}" dt="2022-03-15T11:30:33.285" v="2978" actId="478"/>
          <ac:graphicFrameMkLst>
            <pc:docMk/>
            <pc:sldMk cId="658039269" sldId="655"/>
            <ac:graphicFrameMk id="8" creationId="{EE827633-F064-4100-AD88-E96147F94793}"/>
          </ac:graphicFrameMkLst>
        </pc:graphicFrameChg>
      </pc:sldChg>
    </pc:docChg>
  </pc:docChgLst>
  <pc:docChgLst>
    <pc:chgData name="Omkar Sonar" userId="d9d77359-733b-4e14-9c8a-6c2c230cf1c2" providerId="ADAL" clId="{F311D874-6D74-4A93-8F3A-37F0F685868B}"/>
    <pc:docChg chg="undo redo custSel addSld delSld modSld sldOrd modSection">
      <pc:chgData name="Omkar Sonar" userId="d9d77359-733b-4e14-9c8a-6c2c230cf1c2" providerId="ADAL" clId="{F311D874-6D74-4A93-8F3A-37F0F685868B}" dt="2022-08-18T04:54:12.166" v="2445" actId="47"/>
      <pc:docMkLst>
        <pc:docMk/>
      </pc:docMkLst>
      <pc:sldChg chg="modSp mod">
        <pc:chgData name="Omkar Sonar" userId="d9d77359-733b-4e14-9c8a-6c2c230cf1c2" providerId="ADAL" clId="{F311D874-6D74-4A93-8F3A-37F0F685868B}" dt="2022-08-18T04:17:55.723" v="1931" actId="20577"/>
        <pc:sldMkLst>
          <pc:docMk/>
          <pc:sldMk cId="3752410796" sldId="493"/>
        </pc:sldMkLst>
        <pc:spChg chg="mod">
          <ac:chgData name="Omkar Sonar" userId="d9d77359-733b-4e14-9c8a-6c2c230cf1c2" providerId="ADAL" clId="{F311D874-6D74-4A93-8F3A-37F0F685868B}" dt="2022-08-12T09:56:17.890" v="33" actId="20577"/>
          <ac:spMkLst>
            <pc:docMk/>
            <pc:sldMk cId="3752410796" sldId="493"/>
            <ac:spMk id="2" creationId="{2AE76582-9F14-064A-8A49-4A5B84FD9103}"/>
          </ac:spMkLst>
        </pc:spChg>
        <pc:spChg chg="mod">
          <ac:chgData name="Omkar Sonar" userId="d9d77359-733b-4e14-9c8a-6c2c230cf1c2" providerId="ADAL" clId="{F311D874-6D74-4A93-8F3A-37F0F685868B}" dt="2022-08-18T04:17:55.723" v="1931" actId="20577"/>
          <ac:spMkLst>
            <pc:docMk/>
            <pc:sldMk cId="3752410796" sldId="493"/>
            <ac:spMk id="3" creationId="{CEDCAA8A-1736-A84E-8D0C-5BAB64C4E63B}"/>
          </ac:spMkLst>
        </pc:spChg>
      </pc:sldChg>
      <pc:sldChg chg="modSp mod">
        <pc:chgData name="Omkar Sonar" userId="d9d77359-733b-4e14-9c8a-6c2c230cf1c2" providerId="ADAL" clId="{F311D874-6D74-4A93-8F3A-37F0F685868B}" dt="2022-08-12T10:07:16.783" v="365" actId="20577"/>
        <pc:sldMkLst>
          <pc:docMk/>
          <pc:sldMk cId="3476382476" sldId="597"/>
        </pc:sldMkLst>
        <pc:spChg chg="mod">
          <ac:chgData name="Omkar Sonar" userId="d9d77359-733b-4e14-9c8a-6c2c230cf1c2" providerId="ADAL" clId="{F311D874-6D74-4A93-8F3A-37F0F685868B}" dt="2022-08-12T10:07:16.783" v="365" actId="20577"/>
          <ac:spMkLst>
            <pc:docMk/>
            <pc:sldMk cId="3476382476" sldId="597"/>
            <ac:spMk id="8" creationId="{7F5477FF-C1F9-48DD-B33A-7468ED2EB0B6}"/>
          </ac:spMkLst>
        </pc:spChg>
      </pc:sldChg>
      <pc:sldChg chg="del">
        <pc:chgData name="Omkar Sonar" userId="d9d77359-733b-4e14-9c8a-6c2c230cf1c2" providerId="ADAL" clId="{F311D874-6D74-4A93-8F3A-37F0F685868B}" dt="2022-08-12T09:58:31.090" v="49" actId="47"/>
        <pc:sldMkLst>
          <pc:docMk/>
          <pc:sldMk cId="3202032304" sldId="618"/>
        </pc:sldMkLst>
      </pc:sldChg>
      <pc:sldChg chg="del">
        <pc:chgData name="Omkar Sonar" userId="d9d77359-733b-4e14-9c8a-6c2c230cf1c2" providerId="ADAL" clId="{F311D874-6D74-4A93-8F3A-37F0F685868B}" dt="2022-08-12T09:58:25.467" v="39" actId="47"/>
        <pc:sldMkLst>
          <pc:docMk/>
          <pc:sldMk cId="3403206523" sldId="635"/>
        </pc:sldMkLst>
      </pc:sldChg>
      <pc:sldChg chg="del">
        <pc:chgData name="Omkar Sonar" userId="d9d77359-733b-4e14-9c8a-6c2c230cf1c2" providerId="ADAL" clId="{F311D874-6D74-4A93-8F3A-37F0F685868B}" dt="2022-08-12T09:58:27.057" v="43" actId="47"/>
        <pc:sldMkLst>
          <pc:docMk/>
          <pc:sldMk cId="1644741381" sldId="637"/>
        </pc:sldMkLst>
      </pc:sldChg>
      <pc:sldChg chg="addSp delSp modSp mod">
        <pc:chgData name="Omkar Sonar" userId="d9d77359-733b-4e14-9c8a-6c2c230cf1c2" providerId="ADAL" clId="{F311D874-6D74-4A93-8F3A-37F0F685868B}" dt="2022-08-17T17:28:48.203" v="1623" actId="1035"/>
        <pc:sldMkLst>
          <pc:docMk/>
          <pc:sldMk cId="4095082886" sldId="638"/>
        </pc:sldMkLst>
        <pc:spChg chg="add mod">
          <ac:chgData name="Omkar Sonar" userId="d9d77359-733b-4e14-9c8a-6c2c230cf1c2" providerId="ADAL" clId="{F311D874-6D74-4A93-8F3A-37F0F685868B}" dt="2022-08-17T17:28:48.203" v="1623" actId="1035"/>
          <ac:spMkLst>
            <pc:docMk/>
            <pc:sldMk cId="4095082886" sldId="638"/>
            <ac:spMk id="2" creationId="{3569F5F9-D1B8-4385-9140-38DC3A27CA05}"/>
          </ac:spMkLst>
        </pc:spChg>
        <pc:spChg chg="del">
          <ac:chgData name="Omkar Sonar" userId="d9d77359-733b-4e14-9c8a-6c2c230cf1c2" providerId="ADAL" clId="{F311D874-6D74-4A93-8F3A-37F0F685868B}" dt="2022-08-12T09:56:55.164" v="38" actId="478"/>
          <ac:spMkLst>
            <pc:docMk/>
            <pc:sldMk cId="4095082886" sldId="638"/>
            <ac:spMk id="3" creationId="{4962B0F1-C6FE-40D3-8242-75CF4D150398}"/>
          </ac:spMkLst>
        </pc:spChg>
        <pc:spChg chg="mod">
          <ac:chgData name="Omkar Sonar" userId="d9d77359-733b-4e14-9c8a-6c2c230cf1c2" providerId="ADAL" clId="{F311D874-6D74-4A93-8F3A-37F0F685868B}" dt="2022-08-17T08:49:11.541" v="1110" actId="1076"/>
          <ac:spMkLst>
            <pc:docMk/>
            <pc:sldMk cId="4095082886" sldId="638"/>
            <ac:spMk id="5" creationId="{FCCF3808-435A-4E9D-895A-D83D62BECE10}"/>
          </ac:spMkLst>
        </pc:spChg>
        <pc:spChg chg="del">
          <ac:chgData name="Omkar Sonar" userId="d9d77359-733b-4e14-9c8a-6c2c230cf1c2" providerId="ADAL" clId="{F311D874-6D74-4A93-8F3A-37F0F685868B}" dt="2022-08-12T09:56:55.164" v="38" actId="478"/>
          <ac:spMkLst>
            <pc:docMk/>
            <pc:sldMk cId="4095082886" sldId="638"/>
            <ac:spMk id="6" creationId="{08B4A99C-4A84-4D43-97C5-6952D60E0BD5}"/>
          </ac:spMkLst>
        </pc:spChg>
        <pc:spChg chg="add mod">
          <ac:chgData name="Omkar Sonar" userId="d9d77359-733b-4e14-9c8a-6c2c230cf1c2" providerId="ADAL" clId="{F311D874-6D74-4A93-8F3A-37F0F685868B}" dt="2022-08-17T17:28:48.203" v="1623" actId="1035"/>
          <ac:spMkLst>
            <pc:docMk/>
            <pc:sldMk cId="4095082886" sldId="638"/>
            <ac:spMk id="7" creationId="{9BB1477D-2350-49E7-B0CD-16B109BA14F8}"/>
          </ac:spMkLst>
        </pc:spChg>
        <pc:spChg chg="add del mod">
          <ac:chgData name="Omkar Sonar" userId="d9d77359-733b-4e14-9c8a-6c2c230cf1c2" providerId="ADAL" clId="{F311D874-6D74-4A93-8F3A-37F0F685868B}" dt="2022-08-12T10:20:23.047" v="713" actId="478"/>
          <ac:spMkLst>
            <pc:docMk/>
            <pc:sldMk cId="4095082886" sldId="638"/>
            <ac:spMk id="8" creationId="{88D4ABAE-4D1F-4084-B954-314574CAC2EF}"/>
          </ac:spMkLst>
        </pc:spChg>
        <pc:spChg chg="add del">
          <ac:chgData name="Omkar Sonar" userId="d9d77359-733b-4e14-9c8a-6c2c230cf1c2" providerId="ADAL" clId="{F311D874-6D74-4A93-8F3A-37F0F685868B}" dt="2022-08-17T11:10:00.802" v="1434" actId="478"/>
          <ac:spMkLst>
            <pc:docMk/>
            <pc:sldMk cId="4095082886" sldId="638"/>
            <ac:spMk id="9" creationId="{F01BD587-206F-40D1-9509-8A27F7CA5298}"/>
          </ac:spMkLst>
        </pc:spChg>
        <pc:spChg chg="del">
          <ac:chgData name="Omkar Sonar" userId="d9d77359-733b-4e14-9c8a-6c2c230cf1c2" providerId="ADAL" clId="{F311D874-6D74-4A93-8F3A-37F0F685868B}" dt="2022-08-12T10:02:01.534" v="84" actId="478"/>
          <ac:spMkLst>
            <pc:docMk/>
            <pc:sldMk cId="4095082886" sldId="638"/>
            <ac:spMk id="10" creationId="{08B99CB6-9CC7-4F70-ABDB-DF837D6770B1}"/>
          </ac:spMkLst>
        </pc:spChg>
        <pc:spChg chg="del">
          <ac:chgData name="Omkar Sonar" userId="d9d77359-733b-4e14-9c8a-6c2c230cf1c2" providerId="ADAL" clId="{F311D874-6D74-4A93-8F3A-37F0F685868B}" dt="2022-08-12T09:56:55.164" v="38" actId="478"/>
          <ac:spMkLst>
            <pc:docMk/>
            <pc:sldMk cId="4095082886" sldId="638"/>
            <ac:spMk id="11" creationId="{74F335D9-45FC-45A4-A283-ECFDA4FB410A}"/>
          </ac:spMkLst>
        </pc:spChg>
        <pc:spChg chg="del">
          <ac:chgData name="Omkar Sonar" userId="d9d77359-733b-4e14-9c8a-6c2c230cf1c2" providerId="ADAL" clId="{F311D874-6D74-4A93-8F3A-37F0F685868B}" dt="2022-08-12T09:56:55.164" v="38" actId="478"/>
          <ac:spMkLst>
            <pc:docMk/>
            <pc:sldMk cId="4095082886" sldId="638"/>
            <ac:spMk id="12" creationId="{A3FA8CA3-4C9C-4EA0-9F71-167959D2B835}"/>
          </ac:spMkLst>
        </pc:spChg>
        <pc:spChg chg="add mod">
          <ac:chgData name="Omkar Sonar" userId="d9d77359-733b-4e14-9c8a-6c2c230cf1c2" providerId="ADAL" clId="{F311D874-6D74-4A93-8F3A-37F0F685868B}" dt="2022-08-17T17:28:48.203" v="1623" actId="1035"/>
          <ac:spMkLst>
            <pc:docMk/>
            <pc:sldMk cId="4095082886" sldId="638"/>
            <ac:spMk id="12" creationId="{C8DC502A-E174-481E-9B6E-105D32C6CD10}"/>
          </ac:spMkLst>
        </pc:spChg>
        <pc:spChg chg="del">
          <ac:chgData name="Omkar Sonar" userId="d9d77359-733b-4e14-9c8a-6c2c230cf1c2" providerId="ADAL" clId="{F311D874-6D74-4A93-8F3A-37F0F685868B}" dt="2022-08-12T09:56:55.164" v="38" actId="478"/>
          <ac:spMkLst>
            <pc:docMk/>
            <pc:sldMk cId="4095082886" sldId="638"/>
            <ac:spMk id="13" creationId="{7FD60854-CF67-415A-B30A-E3C55C1AC81F}"/>
          </ac:spMkLst>
        </pc:spChg>
        <pc:spChg chg="del">
          <ac:chgData name="Omkar Sonar" userId="d9d77359-733b-4e14-9c8a-6c2c230cf1c2" providerId="ADAL" clId="{F311D874-6D74-4A93-8F3A-37F0F685868B}" dt="2022-08-12T09:56:55.164" v="38" actId="478"/>
          <ac:spMkLst>
            <pc:docMk/>
            <pc:sldMk cId="4095082886" sldId="638"/>
            <ac:spMk id="14" creationId="{058CE818-A7E9-4DA5-BD43-EF02D0B95ACE}"/>
          </ac:spMkLst>
        </pc:spChg>
        <pc:spChg chg="del">
          <ac:chgData name="Omkar Sonar" userId="d9d77359-733b-4e14-9c8a-6c2c230cf1c2" providerId="ADAL" clId="{F311D874-6D74-4A93-8F3A-37F0F685868B}" dt="2022-08-12T09:56:55.164" v="38" actId="478"/>
          <ac:spMkLst>
            <pc:docMk/>
            <pc:sldMk cId="4095082886" sldId="638"/>
            <ac:spMk id="15" creationId="{76068466-D2EE-4B38-958D-D3547096B8C1}"/>
          </ac:spMkLst>
        </pc:spChg>
        <pc:spChg chg="del">
          <ac:chgData name="Omkar Sonar" userId="d9d77359-733b-4e14-9c8a-6c2c230cf1c2" providerId="ADAL" clId="{F311D874-6D74-4A93-8F3A-37F0F685868B}" dt="2022-08-12T09:56:55.164" v="38" actId="478"/>
          <ac:spMkLst>
            <pc:docMk/>
            <pc:sldMk cId="4095082886" sldId="638"/>
            <ac:spMk id="16" creationId="{4E01F2D8-36A5-4A17-893D-A37E70BCDA9D}"/>
          </ac:spMkLst>
        </pc:spChg>
        <pc:spChg chg="del">
          <ac:chgData name="Omkar Sonar" userId="d9d77359-733b-4e14-9c8a-6c2c230cf1c2" providerId="ADAL" clId="{F311D874-6D74-4A93-8F3A-37F0F685868B}" dt="2022-08-12T09:56:55.164" v="38" actId="478"/>
          <ac:spMkLst>
            <pc:docMk/>
            <pc:sldMk cId="4095082886" sldId="638"/>
            <ac:spMk id="17" creationId="{9B097756-57AE-4A4B-AB3B-98CB1E6DA8F5}"/>
          </ac:spMkLst>
        </pc:spChg>
        <pc:spChg chg="del">
          <ac:chgData name="Omkar Sonar" userId="d9d77359-733b-4e14-9c8a-6c2c230cf1c2" providerId="ADAL" clId="{F311D874-6D74-4A93-8F3A-37F0F685868B}" dt="2022-08-12T09:56:55.164" v="38" actId="478"/>
          <ac:spMkLst>
            <pc:docMk/>
            <pc:sldMk cId="4095082886" sldId="638"/>
            <ac:spMk id="18" creationId="{FC323125-381A-4DA3-85FF-3A9231A7C857}"/>
          </ac:spMkLst>
        </pc:spChg>
        <pc:spChg chg="del">
          <ac:chgData name="Omkar Sonar" userId="d9d77359-733b-4e14-9c8a-6c2c230cf1c2" providerId="ADAL" clId="{F311D874-6D74-4A93-8F3A-37F0F685868B}" dt="2022-08-12T09:56:55.164" v="38" actId="478"/>
          <ac:spMkLst>
            <pc:docMk/>
            <pc:sldMk cId="4095082886" sldId="638"/>
            <ac:spMk id="19" creationId="{305C0FF1-C83B-4DF3-AEC6-8361F6D0F11A}"/>
          </ac:spMkLst>
        </pc:spChg>
        <pc:spChg chg="add mod">
          <ac:chgData name="Omkar Sonar" userId="d9d77359-733b-4e14-9c8a-6c2c230cf1c2" providerId="ADAL" clId="{F311D874-6D74-4A93-8F3A-37F0F685868B}" dt="2022-08-17T17:28:48.203" v="1623" actId="1035"/>
          <ac:spMkLst>
            <pc:docMk/>
            <pc:sldMk cId="4095082886" sldId="638"/>
            <ac:spMk id="19" creationId="{6456C675-D1F7-40AE-8401-7B0019BADD58}"/>
          </ac:spMkLst>
        </pc:spChg>
        <pc:spChg chg="add del mod">
          <ac:chgData name="Omkar Sonar" userId="d9d77359-733b-4e14-9c8a-6c2c230cf1c2" providerId="ADAL" clId="{F311D874-6D74-4A93-8F3A-37F0F685868B}" dt="2022-08-17T17:28:48.203" v="1623" actId="1035"/>
          <ac:spMkLst>
            <pc:docMk/>
            <pc:sldMk cId="4095082886" sldId="638"/>
            <ac:spMk id="20" creationId="{4677EBED-214A-4EE4-A0BA-DB1E14CBF4BD}"/>
          </ac:spMkLst>
        </pc:spChg>
        <pc:spChg chg="add mod">
          <ac:chgData name="Omkar Sonar" userId="d9d77359-733b-4e14-9c8a-6c2c230cf1c2" providerId="ADAL" clId="{F311D874-6D74-4A93-8F3A-37F0F685868B}" dt="2022-08-17T17:28:48.203" v="1623" actId="1035"/>
          <ac:spMkLst>
            <pc:docMk/>
            <pc:sldMk cId="4095082886" sldId="638"/>
            <ac:spMk id="21" creationId="{C16A41DE-683B-4958-BB52-AD636BA0A37C}"/>
          </ac:spMkLst>
        </pc:spChg>
        <pc:spChg chg="del">
          <ac:chgData name="Omkar Sonar" userId="d9d77359-733b-4e14-9c8a-6c2c230cf1c2" providerId="ADAL" clId="{F311D874-6D74-4A93-8F3A-37F0F685868B}" dt="2022-08-12T10:02:03.949" v="85" actId="478"/>
          <ac:spMkLst>
            <pc:docMk/>
            <pc:sldMk cId="4095082886" sldId="638"/>
            <ac:spMk id="21" creationId="{C7169E45-BF17-4315-AE39-5F071CAB44BF}"/>
          </ac:spMkLst>
        </pc:spChg>
        <pc:spChg chg="del">
          <ac:chgData name="Omkar Sonar" userId="d9d77359-733b-4e14-9c8a-6c2c230cf1c2" providerId="ADAL" clId="{F311D874-6D74-4A93-8F3A-37F0F685868B}" dt="2022-08-12T09:56:55.164" v="38" actId="478"/>
          <ac:spMkLst>
            <pc:docMk/>
            <pc:sldMk cId="4095082886" sldId="638"/>
            <ac:spMk id="23" creationId="{6DF6824F-1C36-46FE-A14F-7EC4E585131D}"/>
          </ac:spMkLst>
        </pc:spChg>
        <pc:spChg chg="del">
          <ac:chgData name="Omkar Sonar" userId="d9d77359-733b-4e14-9c8a-6c2c230cf1c2" providerId="ADAL" clId="{F311D874-6D74-4A93-8F3A-37F0F685868B}" dt="2022-08-12T09:56:55.164" v="38" actId="478"/>
          <ac:spMkLst>
            <pc:docMk/>
            <pc:sldMk cId="4095082886" sldId="638"/>
            <ac:spMk id="24" creationId="{459D7225-F7D0-4AA3-98E6-3A82CFB70AF3}"/>
          </ac:spMkLst>
        </pc:spChg>
        <pc:spChg chg="add mod">
          <ac:chgData name="Omkar Sonar" userId="d9d77359-733b-4e14-9c8a-6c2c230cf1c2" providerId="ADAL" clId="{F311D874-6D74-4A93-8F3A-37F0F685868B}" dt="2022-08-17T17:28:48.203" v="1623" actId="1035"/>
          <ac:spMkLst>
            <pc:docMk/>
            <pc:sldMk cId="4095082886" sldId="638"/>
            <ac:spMk id="33" creationId="{03744F34-1F9E-42A3-A158-EB458AFCAA9E}"/>
          </ac:spMkLst>
        </pc:spChg>
        <pc:spChg chg="add mod">
          <ac:chgData name="Omkar Sonar" userId="d9d77359-733b-4e14-9c8a-6c2c230cf1c2" providerId="ADAL" clId="{F311D874-6D74-4A93-8F3A-37F0F685868B}" dt="2022-08-17T17:28:48.203" v="1623" actId="1035"/>
          <ac:spMkLst>
            <pc:docMk/>
            <pc:sldMk cId="4095082886" sldId="638"/>
            <ac:spMk id="34" creationId="{C351D7B0-1E90-479B-9D29-5172D8297274}"/>
          </ac:spMkLst>
        </pc:spChg>
        <pc:spChg chg="add mod">
          <ac:chgData name="Omkar Sonar" userId="d9d77359-733b-4e14-9c8a-6c2c230cf1c2" providerId="ADAL" clId="{F311D874-6D74-4A93-8F3A-37F0F685868B}" dt="2022-08-17T17:28:48.203" v="1623" actId="1035"/>
          <ac:spMkLst>
            <pc:docMk/>
            <pc:sldMk cId="4095082886" sldId="638"/>
            <ac:spMk id="35" creationId="{B057608A-877E-46DB-BAA9-93149167C941}"/>
          </ac:spMkLst>
        </pc:spChg>
        <pc:spChg chg="add mod">
          <ac:chgData name="Omkar Sonar" userId="d9d77359-733b-4e14-9c8a-6c2c230cf1c2" providerId="ADAL" clId="{F311D874-6D74-4A93-8F3A-37F0F685868B}" dt="2022-08-17T17:28:33.502" v="1611" actId="1076"/>
          <ac:spMkLst>
            <pc:docMk/>
            <pc:sldMk cId="4095082886" sldId="638"/>
            <ac:spMk id="36" creationId="{42093E30-5E8E-4B31-B52B-98448FAFF993}"/>
          </ac:spMkLst>
        </pc:spChg>
        <pc:spChg chg="add mod">
          <ac:chgData name="Omkar Sonar" userId="d9d77359-733b-4e14-9c8a-6c2c230cf1c2" providerId="ADAL" clId="{F311D874-6D74-4A93-8F3A-37F0F685868B}" dt="2022-08-17T17:28:48.203" v="1623" actId="1035"/>
          <ac:spMkLst>
            <pc:docMk/>
            <pc:sldMk cId="4095082886" sldId="638"/>
            <ac:spMk id="37" creationId="{EA371D24-3495-4274-A39C-B2DB2AE089EA}"/>
          </ac:spMkLst>
        </pc:spChg>
        <pc:spChg chg="add mod">
          <ac:chgData name="Omkar Sonar" userId="d9d77359-733b-4e14-9c8a-6c2c230cf1c2" providerId="ADAL" clId="{F311D874-6D74-4A93-8F3A-37F0F685868B}" dt="2022-08-17T17:28:48.203" v="1623" actId="1035"/>
          <ac:spMkLst>
            <pc:docMk/>
            <pc:sldMk cId="4095082886" sldId="638"/>
            <ac:spMk id="38" creationId="{5B94B86A-1CD9-40D6-9FDB-CEB07B8A70CA}"/>
          </ac:spMkLst>
        </pc:spChg>
        <pc:spChg chg="add mod">
          <ac:chgData name="Omkar Sonar" userId="d9d77359-733b-4e14-9c8a-6c2c230cf1c2" providerId="ADAL" clId="{F311D874-6D74-4A93-8F3A-37F0F685868B}" dt="2022-08-17T17:28:48.203" v="1623" actId="1035"/>
          <ac:spMkLst>
            <pc:docMk/>
            <pc:sldMk cId="4095082886" sldId="638"/>
            <ac:spMk id="48" creationId="{C1C8D602-DDA9-49E1-B5B9-B8B42CF5B209}"/>
          </ac:spMkLst>
        </pc:spChg>
        <pc:graphicFrameChg chg="add mod modGraphic">
          <ac:chgData name="Omkar Sonar" userId="d9d77359-733b-4e14-9c8a-6c2c230cf1c2" providerId="ADAL" clId="{F311D874-6D74-4A93-8F3A-37F0F685868B}" dt="2022-08-17T17:28:48.203" v="1623" actId="1035"/>
          <ac:graphicFrameMkLst>
            <pc:docMk/>
            <pc:sldMk cId="4095082886" sldId="638"/>
            <ac:graphicFrameMk id="3" creationId="{E83131F0-2375-4ABB-A79F-F6C188370F81}"/>
          </ac:graphicFrameMkLst>
        </pc:graphicFrameChg>
        <pc:graphicFrameChg chg="add mod modGraphic">
          <ac:chgData name="Omkar Sonar" userId="d9d77359-733b-4e14-9c8a-6c2c230cf1c2" providerId="ADAL" clId="{F311D874-6D74-4A93-8F3A-37F0F685868B}" dt="2022-08-17T17:28:48.203" v="1623" actId="1035"/>
          <ac:graphicFrameMkLst>
            <pc:docMk/>
            <pc:sldMk cId="4095082886" sldId="638"/>
            <ac:graphicFrameMk id="4" creationId="{EB0AD747-0F39-4696-A515-302A44A5EDBB}"/>
          </ac:graphicFrameMkLst>
        </pc:graphicFrameChg>
        <pc:picChg chg="add mod">
          <ac:chgData name="Omkar Sonar" userId="d9d77359-733b-4e14-9c8a-6c2c230cf1c2" providerId="ADAL" clId="{F311D874-6D74-4A93-8F3A-37F0F685868B}" dt="2022-08-17T17:28:48.203" v="1623" actId="1035"/>
          <ac:picMkLst>
            <pc:docMk/>
            <pc:sldMk cId="4095082886" sldId="638"/>
            <ac:picMk id="1026" creationId="{F54519B9-20EB-4726-8583-94F8CBE6B7BE}"/>
          </ac:picMkLst>
        </pc:picChg>
        <pc:picChg chg="add del">
          <ac:chgData name="Omkar Sonar" userId="d9d77359-733b-4e14-9c8a-6c2c230cf1c2" providerId="ADAL" clId="{F311D874-6D74-4A93-8F3A-37F0F685868B}" dt="2022-08-17T10:34:42.308" v="1125" actId="478"/>
          <ac:picMkLst>
            <pc:docMk/>
            <pc:sldMk cId="4095082886" sldId="638"/>
            <ac:picMk id="1028" creationId="{DD0300BF-9FD8-410D-A97B-FDB5C60FA26A}"/>
          </ac:picMkLst>
        </pc:picChg>
        <pc:cxnChg chg="add del mod">
          <ac:chgData name="Omkar Sonar" userId="d9d77359-733b-4e14-9c8a-6c2c230cf1c2" providerId="ADAL" clId="{F311D874-6D74-4A93-8F3A-37F0F685868B}" dt="2022-08-17T11:09:51.908" v="1432" actId="478"/>
          <ac:cxnSpMkLst>
            <pc:docMk/>
            <pc:sldMk cId="4095082886" sldId="638"/>
            <ac:cxnSpMk id="8" creationId="{3CF2B41F-5FA2-4D60-8143-7B43958A97DC}"/>
          </ac:cxnSpMkLst>
        </pc:cxnChg>
        <pc:cxnChg chg="add mod">
          <ac:chgData name="Omkar Sonar" userId="d9d77359-733b-4e14-9c8a-6c2c230cf1c2" providerId="ADAL" clId="{F311D874-6D74-4A93-8F3A-37F0F685868B}" dt="2022-08-17T17:28:48.203" v="1623" actId="1035"/>
          <ac:cxnSpMkLst>
            <pc:docMk/>
            <pc:sldMk cId="4095082886" sldId="638"/>
            <ac:cxnSpMk id="11" creationId="{985E82A6-8AC6-41EF-940B-C714E206DDD9}"/>
          </ac:cxnSpMkLst>
        </pc:cxnChg>
        <pc:cxnChg chg="add del mod">
          <ac:chgData name="Omkar Sonar" userId="d9d77359-733b-4e14-9c8a-6c2c230cf1c2" providerId="ADAL" clId="{F311D874-6D74-4A93-8F3A-37F0F685868B}" dt="2022-08-17T11:10:41.521" v="1442" actId="478"/>
          <ac:cxnSpMkLst>
            <pc:docMk/>
            <pc:sldMk cId="4095082886" sldId="638"/>
            <ac:cxnSpMk id="25" creationId="{BC1E5518-15EF-4217-ACA1-721211EB6A5C}"/>
          </ac:cxnSpMkLst>
        </pc:cxnChg>
        <pc:cxnChg chg="add del">
          <ac:chgData name="Omkar Sonar" userId="d9d77359-733b-4e14-9c8a-6c2c230cf1c2" providerId="ADAL" clId="{F311D874-6D74-4A93-8F3A-37F0F685868B}" dt="2022-08-17T11:10:39.976" v="1441" actId="478"/>
          <ac:cxnSpMkLst>
            <pc:docMk/>
            <pc:sldMk cId="4095082886" sldId="638"/>
            <ac:cxnSpMk id="27" creationId="{56B8E306-BE41-4187-BC48-CDD8121FBCE5}"/>
          </ac:cxnSpMkLst>
        </pc:cxnChg>
        <pc:cxnChg chg="add del">
          <ac:chgData name="Omkar Sonar" userId="d9d77359-733b-4e14-9c8a-6c2c230cf1c2" providerId="ADAL" clId="{F311D874-6D74-4A93-8F3A-37F0F685868B}" dt="2022-08-17T11:10:38.076" v="1440" actId="478"/>
          <ac:cxnSpMkLst>
            <pc:docMk/>
            <pc:sldMk cId="4095082886" sldId="638"/>
            <ac:cxnSpMk id="29" creationId="{E3E7B0B7-E3BD-4EFB-8A9A-AA5F4EA6AD34}"/>
          </ac:cxnSpMkLst>
        </pc:cxnChg>
        <pc:cxnChg chg="add del">
          <ac:chgData name="Omkar Sonar" userId="d9d77359-733b-4e14-9c8a-6c2c230cf1c2" providerId="ADAL" clId="{F311D874-6D74-4A93-8F3A-37F0F685868B}" dt="2022-08-12T10:48:54.900" v="1024" actId="478"/>
          <ac:cxnSpMkLst>
            <pc:docMk/>
            <pc:sldMk cId="4095082886" sldId="638"/>
            <ac:cxnSpMk id="31" creationId="{5EDFD461-EFA9-44A8-9708-766453A8CD3B}"/>
          </ac:cxnSpMkLst>
        </pc:cxnChg>
        <pc:cxnChg chg="add del">
          <ac:chgData name="Omkar Sonar" userId="d9d77359-733b-4e14-9c8a-6c2c230cf1c2" providerId="ADAL" clId="{F311D874-6D74-4A93-8F3A-37F0F685868B}" dt="2022-08-12T10:48:57.333" v="1025" actId="478"/>
          <ac:cxnSpMkLst>
            <pc:docMk/>
            <pc:sldMk cId="4095082886" sldId="638"/>
            <ac:cxnSpMk id="33" creationId="{CA067A60-5431-4710-B48D-EFE2CD651AF5}"/>
          </ac:cxnSpMkLst>
        </pc:cxnChg>
        <pc:cxnChg chg="add del mod">
          <ac:chgData name="Omkar Sonar" userId="d9d77359-733b-4e14-9c8a-6c2c230cf1c2" providerId="ADAL" clId="{F311D874-6D74-4A93-8F3A-37F0F685868B}" dt="2022-08-12T10:48:59.788" v="1026" actId="478"/>
          <ac:cxnSpMkLst>
            <pc:docMk/>
            <pc:sldMk cId="4095082886" sldId="638"/>
            <ac:cxnSpMk id="35" creationId="{67873F48-ED6F-44BC-B678-18ABE5E6AAF4}"/>
          </ac:cxnSpMkLst>
        </pc:cxnChg>
        <pc:cxnChg chg="add mod">
          <ac:chgData name="Omkar Sonar" userId="d9d77359-733b-4e14-9c8a-6c2c230cf1c2" providerId="ADAL" clId="{F311D874-6D74-4A93-8F3A-37F0F685868B}" dt="2022-08-17T17:28:48.203" v="1623" actId="1035"/>
          <ac:cxnSpMkLst>
            <pc:docMk/>
            <pc:sldMk cId="4095082886" sldId="638"/>
            <ac:cxnSpMk id="44" creationId="{76913028-1287-4D1A-9EDB-BF8EBFAFD7AC}"/>
          </ac:cxnSpMkLst>
        </pc:cxnChg>
        <pc:cxnChg chg="add del mod">
          <ac:chgData name="Omkar Sonar" userId="d9d77359-733b-4e14-9c8a-6c2c230cf1c2" providerId="ADAL" clId="{F311D874-6D74-4A93-8F3A-37F0F685868B}" dt="2022-08-17T11:09:25.636" v="1430" actId="478"/>
          <ac:cxnSpMkLst>
            <pc:docMk/>
            <pc:sldMk cId="4095082886" sldId="638"/>
            <ac:cxnSpMk id="47" creationId="{69658337-D22C-41EA-8BDA-BA3508436574}"/>
          </ac:cxnSpMkLst>
        </pc:cxnChg>
        <pc:cxnChg chg="add mod">
          <ac:chgData name="Omkar Sonar" userId="d9d77359-733b-4e14-9c8a-6c2c230cf1c2" providerId="ADAL" clId="{F311D874-6D74-4A93-8F3A-37F0F685868B}" dt="2022-08-17T17:28:48.203" v="1623" actId="1035"/>
          <ac:cxnSpMkLst>
            <pc:docMk/>
            <pc:sldMk cId="4095082886" sldId="638"/>
            <ac:cxnSpMk id="50" creationId="{917BE29D-ACCF-4CFA-8C0C-435BB35A6CCC}"/>
          </ac:cxnSpMkLst>
        </pc:cxnChg>
      </pc:sldChg>
      <pc:sldChg chg="del">
        <pc:chgData name="Omkar Sonar" userId="d9d77359-733b-4e14-9c8a-6c2c230cf1c2" providerId="ADAL" clId="{F311D874-6D74-4A93-8F3A-37F0F685868B}" dt="2022-08-12T09:58:25.726" v="40" actId="47"/>
        <pc:sldMkLst>
          <pc:docMk/>
          <pc:sldMk cId="699723982" sldId="642"/>
        </pc:sldMkLst>
      </pc:sldChg>
      <pc:sldChg chg="del">
        <pc:chgData name="Omkar Sonar" userId="d9d77359-733b-4e14-9c8a-6c2c230cf1c2" providerId="ADAL" clId="{F311D874-6D74-4A93-8F3A-37F0F685868B}" dt="2022-08-12T09:58:25.957" v="41" actId="47"/>
        <pc:sldMkLst>
          <pc:docMk/>
          <pc:sldMk cId="981083552" sldId="643"/>
        </pc:sldMkLst>
      </pc:sldChg>
      <pc:sldChg chg="del">
        <pc:chgData name="Omkar Sonar" userId="d9d77359-733b-4e14-9c8a-6c2c230cf1c2" providerId="ADAL" clId="{F311D874-6D74-4A93-8F3A-37F0F685868B}" dt="2022-08-12T09:58:27.941" v="45" actId="47"/>
        <pc:sldMkLst>
          <pc:docMk/>
          <pc:sldMk cId="4195252996" sldId="644"/>
        </pc:sldMkLst>
      </pc:sldChg>
      <pc:sldChg chg="del">
        <pc:chgData name="Omkar Sonar" userId="d9d77359-733b-4e14-9c8a-6c2c230cf1c2" providerId="ADAL" clId="{F311D874-6D74-4A93-8F3A-37F0F685868B}" dt="2022-08-12T09:58:26.191" v="42" actId="47"/>
        <pc:sldMkLst>
          <pc:docMk/>
          <pc:sldMk cId="2352620945" sldId="645"/>
        </pc:sldMkLst>
      </pc:sldChg>
      <pc:sldChg chg="del">
        <pc:chgData name="Omkar Sonar" userId="d9d77359-733b-4e14-9c8a-6c2c230cf1c2" providerId="ADAL" clId="{F311D874-6D74-4A93-8F3A-37F0F685868B}" dt="2022-08-12T09:58:30.781" v="48" actId="47"/>
        <pc:sldMkLst>
          <pc:docMk/>
          <pc:sldMk cId="1487256377" sldId="646"/>
        </pc:sldMkLst>
      </pc:sldChg>
      <pc:sldChg chg="modSp mod ord">
        <pc:chgData name="Omkar Sonar" userId="d9d77359-733b-4e14-9c8a-6c2c230cf1c2" providerId="ADAL" clId="{F311D874-6D74-4A93-8F3A-37F0F685868B}" dt="2022-08-12T10:01:44.390" v="83" actId="20577"/>
        <pc:sldMkLst>
          <pc:docMk/>
          <pc:sldMk cId="1565232952" sldId="650"/>
        </pc:sldMkLst>
        <pc:spChg chg="mod">
          <ac:chgData name="Omkar Sonar" userId="d9d77359-733b-4e14-9c8a-6c2c230cf1c2" providerId="ADAL" clId="{F311D874-6D74-4A93-8F3A-37F0F685868B}" dt="2022-08-12T10:01:44.390" v="83" actId="20577"/>
          <ac:spMkLst>
            <pc:docMk/>
            <pc:sldMk cId="1565232952" sldId="650"/>
            <ac:spMk id="5" creationId="{25B277E9-5748-449B-94AB-FB9426EDB5AA}"/>
          </ac:spMkLst>
        </pc:spChg>
      </pc:sldChg>
      <pc:sldChg chg="del">
        <pc:chgData name="Omkar Sonar" userId="d9d77359-733b-4e14-9c8a-6c2c230cf1c2" providerId="ADAL" clId="{F311D874-6D74-4A93-8F3A-37F0F685868B}" dt="2022-08-12T09:58:31.975" v="50" actId="47"/>
        <pc:sldMkLst>
          <pc:docMk/>
          <pc:sldMk cId="1185818047" sldId="651"/>
        </pc:sldMkLst>
      </pc:sldChg>
      <pc:sldChg chg="add del ord">
        <pc:chgData name="Omkar Sonar" userId="d9d77359-733b-4e14-9c8a-6c2c230cf1c2" providerId="ADAL" clId="{F311D874-6D74-4A93-8F3A-37F0F685868B}" dt="2022-08-17T08:48:44.049" v="1106"/>
        <pc:sldMkLst>
          <pc:docMk/>
          <pc:sldMk cId="153256197" sldId="652"/>
        </pc:sldMkLst>
      </pc:sldChg>
      <pc:sldChg chg="del">
        <pc:chgData name="Omkar Sonar" userId="d9d77359-733b-4e14-9c8a-6c2c230cf1c2" providerId="ADAL" clId="{F311D874-6D74-4A93-8F3A-37F0F685868B}" dt="2022-08-12T09:58:28.601" v="47" actId="47"/>
        <pc:sldMkLst>
          <pc:docMk/>
          <pc:sldMk cId="2635560545" sldId="654"/>
        </pc:sldMkLst>
      </pc:sldChg>
      <pc:sldChg chg="del">
        <pc:chgData name="Omkar Sonar" userId="d9d77359-733b-4e14-9c8a-6c2c230cf1c2" providerId="ADAL" clId="{F311D874-6D74-4A93-8F3A-37F0F685868B}" dt="2022-08-12T09:58:27.503" v="44" actId="47"/>
        <pc:sldMkLst>
          <pc:docMk/>
          <pc:sldMk cId="658039269" sldId="655"/>
        </pc:sldMkLst>
      </pc:sldChg>
      <pc:sldChg chg="add del">
        <pc:chgData name="Omkar Sonar" userId="d9d77359-733b-4e14-9c8a-6c2c230cf1c2" providerId="ADAL" clId="{F311D874-6D74-4A93-8F3A-37F0F685868B}" dt="2022-08-12T09:58:43.787" v="54" actId="47"/>
        <pc:sldMkLst>
          <pc:docMk/>
          <pc:sldMk cId="1887214738" sldId="656"/>
        </pc:sldMkLst>
      </pc:sldChg>
      <pc:sldChg chg="add del">
        <pc:chgData name="Omkar Sonar" userId="d9d77359-733b-4e14-9c8a-6c2c230cf1c2" providerId="ADAL" clId="{F311D874-6D74-4A93-8F3A-37F0F685868B}" dt="2022-08-12T09:58:43.414" v="53" actId="47"/>
        <pc:sldMkLst>
          <pc:docMk/>
          <pc:sldMk cId="4102784048" sldId="657"/>
        </pc:sldMkLst>
      </pc:sldChg>
      <pc:sldChg chg="del">
        <pc:chgData name="Omkar Sonar" userId="d9d77359-733b-4e14-9c8a-6c2c230cf1c2" providerId="ADAL" clId="{F311D874-6D74-4A93-8F3A-37F0F685868B}" dt="2022-08-18T04:54:12.166" v="2445" actId="47"/>
        <pc:sldMkLst>
          <pc:docMk/>
          <pc:sldMk cId="3458168072" sldId="658"/>
        </pc:sldMkLst>
      </pc:sldChg>
      <pc:sldChg chg="modSp add mod">
        <pc:chgData name="Omkar Sonar" userId="d9d77359-733b-4e14-9c8a-6c2c230cf1c2" providerId="ADAL" clId="{F311D874-6D74-4A93-8F3A-37F0F685868B}" dt="2022-08-12T10:09:05.779" v="415" actId="20577"/>
        <pc:sldMkLst>
          <pc:docMk/>
          <pc:sldMk cId="1088952656" sldId="660"/>
        </pc:sldMkLst>
        <pc:spChg chg="mod">
          <ac:chgData name="Omkar Sonar" userId="d9d77359-733b-4e14-9c8a-6c2c230cf1c2" providerId="ADAL" clId="{F311D874-6D74-4A93-8F3A-37F0F685868B}" dt="2022-08-12T10:09:05.779" v="415" actId="20577"/>
          <ac:spMkLst>
            <pc:docMk/>
            <pc:sldMk cId="1088952656" sldId="660"/>
            <ac:spMk id="5" creationId="{25B277E9-5748-449B-94AB-FB9426EDB5AA}"/>
          </ac:spMkLst>
        </pc:spChg>
      </pc:sldChg>
      <pc:sldChg chg="del">
        <pc:chgData name="Omkar Sonar" userId="d9d77359-733b-4e14-9c8a-6c2c230cf1c2" providerId="ADAL" clId="{F311D874-6D74-4A93-8F3A-37F0F685868B}" dt="2022-08-12T09:59:01.270" v="55" actId="47"/>
        <pc:sldMkLst>
          <pc:docMk/>
          <pc:sldMk cId="2782537251" sldId="660"/>
        </pc:sldMkLst>
      </pc:sldChg>
      <pc:sldChg chg="addSp delSp modSp add del mod">
        <pc:chgData name="Omkar Sonar" userId="d9d77359-733b-4e14-9c8a-6c2c230cf1c2" providerId="ADAL" clId="{F311D874-6D74-4A93-8F3A-37F0F685868B}" dt="2022-08-18T04:19:14.394" v="2021" actId="1076"/>
        <pc:sldMkLst>
          <pc:docMk/>
          <pc:sldMk cId="2004383261" sldId="661"/>
        </pc:sldMkLst>
        <pc:spChg chg="add del mod">
          <ac:chgData name="Omkar Sonar" userId="d9d77359-733b-4e14-9c8a-6c2c230cf1c2" providerId="ADAL" clId="{F311D874-6D74-4A93-8F3A-37F0F685868B}" dt="2022-08-18T04:15:10.382" v="1928" actId="478"/>
          <ac:spMkLst>
            <pc:docMk/>
            <pc:sldMk cId="2004383261" sldId="661"/>
            <ac:spMk id="2" creationId="{12BE71B0-CF00-4729-BF5B-719C091CE45A}"/>
          </ac:spMkLst>
        </pc:spChg>
        <pc:spChg chg="mod">
          <ac:chgData name="Omkar Sonar" userId="d9d77359-733b-4e14-9c8a-6c2c230cf1c2" providerId="ADAL" clId="{F311D874-6D74-4A93-8F3A-37F0F685868B}" dt="2022-08-12T10:03:24.144" v="158" actId="20577"/>
          <ac:spMkLst>
            <pc:docMk/>
            <pc:sldMk cId="2004383261" sldId="661"/>
            <ac:spMk id="5" creationId="{FCCF3808-435A-4E9D-895A-D83D62BECE10}"/>
          </ac:spMkLst>
        </pc:spChg>
        <pc:spChg chg="add del mod">
          <ac:chgData name="Omkar Sonar" userId="d9d77359-733b-4e14-9c8a-6c2c230cf1c2" providerId="ADAL" clId="{F311D874-6D74-4A93-8F3A-37F0F685868B}" dt="2022-08-17T21:27:55.182" v="1772" actId="478"/>
          <ac:spMkLst>
            <pc:docMk/>
            <pc:sldMk cId="2004383261" sldId="661"/>
            <ac:spMk id="8" creationId="{EDE37A18-0ED4-4BE5-81BD-A7C8A412DB6E}"/>
          </ac:spMkLst>
        </pc:spChg>
        <pc:spChg chg="add mod">
          <ac:chgData name="Omkar Sonar" userId="d9d77359-733b-4e14-9c8a-6c2c230cf1c2" providerId="ADAL" clId="{F311D874-6D74-4A93-8F3A-37F0F685868B}" dt="2022-08-18T04:19:09.034" v="2020" actId="1076"/>
          <ac:spMkLst>
            <pc:docMk/>
            <pc:sldMk cId="2004383261" sldId="661"/>
            <ac:spMk id="13" creationId="{6891395F-6C14-4864-98C2-05007FF5FE9C}"/>
          </ac:spMkLst>
        </pc:spChg>
        <pc:spChg chg="add mod">
          <ac:chgData name="Omkar Sonar" userId="d9d77359-733b-4e14-9c8a-6c2c230cf1c2" providerId="ADAL" clId="{F311D874-6D74-4A93-8F3A-37F0F685868B}" dt="2022-08-18T04:19:06.853" v="2019" actId="1076"/>
          <ac:spMkLst>
            <pc:docMk/>
            <pc:sldMk cId="2004383261" sldId="661"/>
            <ac:spMk id="16" creationId="{DF7FC1A6-0149-49D1-82CB-4E0A454D9FFD}"/>
          </ac:spMkLst>
        </pc:spChg>
        <pc:spChg chg="add mod">
          <ac:chgData name="Omkar Sonar" userId="d9d77359-733b-4e14-9c8a-6c2c230cf1c2" providerId="ADAL" clId="{F311D874-6D74-4A93-8F3A-37F0F685868B}" dt="2022-08-18T04:19:14.394" v="2021" actId="1076"/>
          <ac:spMkLst>
            <pc:docMk/>
            <pc:sldMk cId="2004383261" sldId="661"/>
            <ac:spMk id="30" creationId="{12CAB5AE-68F3-46B0-B945-FA12D54AD6E0}"/>
          </ac:spMkLst>
        </pc:spChg>
        <pc:picChg chg="add del mod">
          <ac:chgData name="Omkar Sonar" userId="d9d77359-733b-4e14-9c8a-6c2c230cf1c2" providerId="ADAL" clId="{F311D874-6D74-4A93-8F3A-37F0F685868B}" dt="2022-08-17T21:27:51.800" v="1771" actId="478"/>
          <ac:picMkLst>
            <pc:docMk/>
            <pc:sldMk cId="2004383261" sldId="661"/>
            <ac:picMk id="4" creationId="{01BEBCC6-0E66-494E-BB97-259DDA1CC701}"/>
          </ac:picMkLst>
        </pc:picChg>
        <pc:picChg chg="add del mod">
          <ac:chgData name="Omkar Sonar" userId="d9d77359-733b-4e14-9c8a-6c2c230cf1c2" providerId="ADAL" clId="{F311D874-6D74-4A93-8F3A-37F0F685868B}" dt="2022-08-17T21:27:49.982" v="1770" actId="478"/>
          <ac:picMkLst>
            <pc:docMk/>
            <pc:sldMk cId="2004383261" sldId="661"/>
            <ac:picMk id="7" creationId="{42EBA94F-DFD3-4516-9AF8-A765CE8E025D}"/>
          </ac:picMkLst>
        </pc:picChg>
        <pc:picChg chg="add mod">
          <ac:chgData name="Omkar Sonar" userId="d9d77359-733b-4e14-9c8a-6c2c230cf1c2" providerId="ADAL" clId="{F311D874-6D74-4A93-8F3A-37F0F685868B}" dt="2022-08-17T21:28:04.010" v="1775" actId="1076"/>
          <ac:picMkLst>
            <pc:docMk/>
            <pc:sldMk cId="2004383261" sldId="661"/>
            <ac:picMk id="10" creationId="{9E48CF47-E71E-4FAD-AF3D-1167C39F260D}"/>
          </ac:picMkLst>
        </pc:picChg>
        <pc:picChg chg="add mod">
          <ac:chgData name="Omkar Sonar" userId="d9d77359-733b-4e14-9c8a-6c2c230cf1c2" providerId="ADAL" clId="{F311D874-6D74-4A93-8F3A-37F0F685868B}" dt="2022-08-18T04:18:54.689" v="2014" actId="14100"/>
          <ac:picMkLst>
            <pc:docMk/>
            <pc:sldMk cId="2004383261" sldId="661"/>
            <ac:picMk id="12" creationId="{D8BCF439-53A9-40E7-A32B-3BECAC7E1889}"/>
          </ac:picMkLst>
        </pc:picChg>
        <pc:picChg chg="add del mod">
          <ac:chgData name="Omkar Sonar" userId="d9d77359-733b-4e14-9c8a-6c2c230cf1c2" providerId="ADAL" clId="{F311D874-6D74-4A93-8F3A-37F0F685868B}" dt="2022-08-17T21:52:49.821" v="1906" actId="21"/>
          <ac:picMkLst>
            <pc:docMk/>
            <pc:sldMk cId="2004383261" sldId="661"/>
            <ac:picMk id="15" creationId="{4C2BC4DC-AAFD-4998-8648-EAED2B0B12EB}"/>
          </ac:picMkLst>
        </pc:picChg>
        <pc:picChg chg="add del">
          <ac:chgData name="Omkar Sonar" userId="d9d77359-733b-4e14-9c8a-6c2c230cf1c2" providerId="ADAL" clId="{F311D874-6D74-4A93-8F3A-37F0F685868B}" dt="2022-08-17T22:04:04.208" v="1917" actId="478"/>
          <ac:picMkLst>
            <pc:docMk/>
            <pc:sldMk cId="2004383261" sldId="661"/>
            <ac:picMk id="18" creationId="{33B0C2BD-F6C4-4E04-8B11-CA2F4B7B2270}"/>
          </ac:picMkLst>
        </pc:picChg>
        <pc:picChg chg="add del mod">
          <ac:chgData name="Omkar Sonar" userId="d9d77359-733b-4e14-9c8a-6c2c230cf1c2" providerId="ADAL" clId="{F311D874-6D74-4A93-8F3A-37F0F685868B}" dt="2022-08-18T04:13:12.941" v="1920" actId="21"/>
          <ac:picMkLst>
            <pc:docMk/>
            <pc:sldMk cId="2004383261" sldId="661"/>
            <ac:picMk id="20" creationId="{B41A41E6-2147-44A6-9A13-79D88C8F4640}"/>
          </ac:picMkLst>
        </pc:picChg>
        <pc:picChg chg="add del mod">
          <ac:chgData name="Omkar Sonar" userId="d9d77359-733b-4e14-9c8a-6c2c230cf1c2" providerId="ADAL" clId="{F311D874-6D74-4A93-8F3A-37F0F685868B}" dt="2022-08-17T22:02:47.545" v="1915" actId="21"/>
          <ac:picMkLst>
            <pc:docMk/>
            <pc:sldMk cId="2004383261" sldId="661"/>
            <ac:picMk id="21" creationId="{090E8D96-9F90-4990-867C-30874B147993}"/>
          </ac:picMkLst>
        </pc:picChg>
        <pc:picChg chg="add del mod">
          <ac:chgData name="Omkar Sonar" userId="d9d77359-733b-4e14-9c8a-6c2c230cf1c2" providerId="ADAL" clId="{F311D874-6D74-4A93-8F3A-37F0F685868B}" dt="2022-08-18T04:14:20.375" v="1924" actId="21"/>
          <ac:picMkLst>
            <pc:docMk/>
            <pc:sldMk cId="2004383261" sldId="661"/>
            <ac:picMk id="24" creationId="{F7ED625E-725B-437D-BA44-BEB510F48E17}"/>
          </ac:picMkLst>
        </pc:picChg>
        <pc:picChg chg="add mod">
          <ac:chgData name="Omkar Sonar" userId="d9d77359-733b-4e14-9c8a-6c2c230cf1c2" providerId="ADAL" clId="{F311D874-6D74-4A93-8F3A-37F0F685868B}" dt="2022-08-18T04:19:00.476" v="2018" actId="1076"/>
          <ac:picMkLst>
            <pc:docMk/>
            <pc:sldMk cId="2004383261" sldId="661"/>
            <ac:picMk id="26" creationId="{71E8F4EA-8F34-477D-9B2C-A4B6E1727276}"/>
          </ac:picMkLst>
        </pc:picChg>
        <pc:picChg chg="add del mod">
          <ac:chgData name="Omkar Sonar" userId="d9d77359-733b-4e14-9c8a-6c2c230cf1c2" providerId="ADAL" clId="{F311D874-6D74-4A93-8F3A-37F0F685868B}" dt="2022-08-17T21:22:37.735" v="1742" actId="478"/>
          <ac:picMkLst>
            <pc:docMk/>
            <pc:sldMk cId="2004383261" sldId="661"/>
            <ac:picMk id="2050" creationId="{C27DEE20-0419-42C0-AA48-E00BF40E6476}"/>
          </ac:picMkLst>
        </pc:picChg>
        <pc:picChg chg="add del mod">
          <ac:chgData name="Omkar Sonar" userId="d9d77359-733b-4e14-9c8a-6c2c230cf1c2" providerId="ADAL" clId="{F311D874-6D74-4A93-8F3A-37F0F685868B}" dt="2022-08-17T21:47:19.684" v="1902" actId="21"/>
          <ac:picMkLst>
            <pc:docMk/>
            <pc:sldMk cId="2004383261" sldId="661"/>
            <ac:picMk id="2052" creationId="{4AE72199-2FAC-4696-ADFE-FA7199D75463}"/>
          </ac:picMkLst>
        </pc:picChg>
        <pc:picChg chg="add del mod">
          <ac:chgData name="Omkar Sonar" userId="d9d77359-733b-4e14-9c8a-6c2c230cf1c2" providerId="ADAL" clId="{F311D874-6D74-4A93-8F3A-37F0F685868B}" dt="2022-08-17T21:55:04.361" v="1909" actId="21"/>
          <ac:picMkLst>
            <pc:docMk/>
            <pc:sldMk cId="2004383261" sldId="661"/>
            <ac:picMk id="2054" creationId="{798869D0-A9D0-439B-9B66-1EFE061B91C3}"/>
          </ac:picMkLst>
        </pc:picChg>
      </pc:sldChg>
      <pc:sldChg chg="del">
        <pc:chgData name="Omkar Sonar" userId="d9d77359-733b-4e14-9c8a-6c2c230cf1c2" providerId="ADAL" clId="{F311D874-6D74-4A93-8F3A-37F0F685868B}" dt="2022-08-12T09:59:03.032" v="56" actId="47"/>
        <pc:sldMkLst>
          <pc:docMk/>
          <pc:sldMk cId="3750603942" sldId="661"/>
        </pc:sldMkLst>
      </pc:sldChg>
      <pc:sldChg chg="addSp delSp modSp add mod">
        <pc:chgData name="Omkar Sonar" userId="d9d77359-733b-4e14-9c8a-6c2c230cf1c2" providerId="ADAL" clId="{F311D874-6D74-4A93-8F3A-37F0F685868B}" dt="2022-08-18T04:33:31.834" v="2433" actId="207"/>
        <pc:sldMkLst>
          <pc:docMk/>
          <pc:sldMk cId="2296854613" sldId="662"/>
        </pc:sldMkLst>
        <pc:spChg chg="add del mod">
          <ac:chgData name="Omkar Sonar" userId="d9d77359-733b-4e14-9c8a-6c2c230cf1c2" providerId="ADAL" clId="{F311D874-6D74-4A93-8F3A-37F0F685868B}" dt="2022-08-18T04:28:38.447" v="2181" actId="478"/>
          <ac:spMkLst>
            <pc:docMk/>
            <pc:sldMk cId="2296854613" sldId="662"/>
            <ac:spMk id="2" creationId="{46C9B4FA-EB36-4A36-A420-F3473F864E25}"/>
          </ac:spMkLst>
        </pc:spChg>
        <pc:spChg chg="add del mod">
          <ac:chgData name="Omkar Sonar" userId="d9d77359-733b-4e14-9c8a-6c2c230cf1c2" providerId="ADAL" clId="{F311D874-6D74-4A93-8F3A-37F0F685868B}" dt="2022-08-18T04:33:28.757" v="2432" actId="207"/>
          <ac:spMkLst>
            <pc:docMk/>
            <pc:sldMk cId="2296854613" sldId="662"/>
            <ac:spMk id="4" creationId="{AF23541A-BCAF-4B44-B59B-95046CB7F053}"/>
          </ac:spMkLst>
        </pc:spChg>
        <pc:spChg chg="mod">
          <ac:chgData name="Omkar Sonar" userId="d9d77359-733b-4e14-9c8a-6c2c230cf1c2" providerId="ADAL" clId="{F311D874-6D74-4A93-8F3A-37F0F685868B}" dt="2022-08-12T10:03:53.547" v="200" actId="20577"/>
          <ac:spMkLst>
            <pc:docMk/>
            <pc:sldMk cId="2296854613" sldId="662"/>
            <ac:spMk id="5" creationId="{FCCF3808-435A-4E9D-895A-D83D62BECE10}"/>
          </ac:spMkLst>
        </pc:spChg>
        <pc:spChg chg="add mod">
          <ac:chgData name="Omkar Sonar" userId="d9d77359-733b-4e14-9c8a-6c2c230cf1c2" providerId="ADAL" clId="{F311D874-6D74-4A93-8F3A-37F0F685868B}" dt="2022-08-18T04:32:14.552" v="2413" actId="1037"/>
          <ac:spMkLst>
            <pc:docMk/>
            <pc:sldMk cId="2296854613" sldId="662"/>
            <ac:spMk id="6" creationId="{0F4424E8-8FF0-4AA5-B040-E01D703615F5}"/>
          </ac:spMkLst>
        </pc:spChg>
        <pc:spChg chg="add mod">
          <ac:chgData name="Omkar Sonar" userId="d9d77359-733b-4e14-9c8a-6c2c230cf1c2" providerId="ADAL" clId="{F311D874-6D74-4A93-8F3A-37F0F685868B}" dt="2022-08-18T04:32:52.056" v="2421" actId="14100"/>
          <ac:spMkLst>
            <pc:docMk/>
            <pc:sldMk cId="2296854613" sldId="662"/>
            <ac:spMk id="7" creationId="{77C0E140-05AC-4D5E-89AB-A73D79A50A8F}"/>
          </ac:spMkLst>
        </pc:spChg>
        <pc:spChg chg="add mod">
          <ac:chgData name="Omkar Sonar" userId="d9d77359-733b-4e14-9c8a-6c2c230cf1c2" providerId="ADAL" clId="{F311D874-6D74-4A93-8F3A-37F0F685868B}" dt="2022-08-18T04:33:31.834" v="2433" actId="207"/>
          <ac:spMkLst>
            <pc:docMk/>
            <pc:sldMk cId="2296854613" sldId="662"/>
            <ac:spMk id="8" creationId="{8B44447A-95FC-4F50-B383-717D821887C5}"/>
          </ac:spMkLst>
        </pc:spChg>
        <pc:spChg chg="add mod">
          <ac:chgData name="Omkar Sonar" userId="d9d77359-733b-4e14-9c8a-6c2c230cf1c2" providerId="ADAL" clId="{F311D874-6D74-4A93-8F3A-37F0F685868B}" dt="2022-08-18T04:33:10.131" v="2426" actId="14100"/>
          <ac:spMkLst>
            <pc:docMk/>
            <pc:sldMk cId="2296854613" sldId="662"/>
            <ac:spMk id="10" creationId="{834A28BC-064A-4F1C-B7EC-372DB3179774}"/>
          </ac:spMkLst>
        </pc:spChg>
        <pc:graphicFrameChg chg="add del mod modGraphic">
          <ac:chgData name="Omkar Sonar" userId="d9d77359-733b-4e14-9c8a-6c2c230cf1c2" providerId="ADAL" clId="{F311D874-6D74-4A93-8F3A-37F0F685868B}" dt="2022-08-18T04:32:14.552" v="2413" actId="1037"/>
          <ac:graphicFrameMkLst>
            <pc:docMk/>
            <pc:sldMk cId="2296854613" sldId="662"/>
            <ac:graphicFrameMk id="3" creationId="{69DCD4D1-43C0-470A-81B2-CBD7F8D2E31E}"/>
          </ac:graphicFrameMkLst>
        </pc:graphicFrameChg>
      </pc:sldChg>
      <pc:sldChg chg="addSp delSp modSp add mod">
        <pc:chgData name="Omkar Sonar" userId="d9d77359-733b-4e14-9c8a-6c2c230cf1c2" providerId="ADAL" clId="{F311D874-6D74-4A93-8F3A-37F0F685868B}" dt="2022-08-18T04:50:15.482" v="2439" actId="21"/>
        <pc:sldMkLst>
          <pc:docMk/>
          <pc:sldMk cId="4140056942" sldId="663"/>
        </pc:sldMkLst>
        <pc:spChg chg="mod">
          <ac:chgData name="Omkar Sonar" userId="d9d77359-733b-4e14-9c8a-6c2c230cf1c2" providerId="ADAL" clId="{F311D874-6D74-4A93-8F3A-37F0F685868B}" dt="2022-08-12T10:04:14.011" v="234" actId="20577"/>
          <ac:spMkLst>
            <pc:docMk/>
            <pc:sldMk cId="4140056942" sldId="663"/>
            <ac:spMk id="5" creationId="{FCCF3808-435A-4E9D-895A-D83D62BECE10}"/>
          </ac:spMkLst>
        </pc:spChg>
        <pc:spChg chg="add mod">
          <ac:chgData name="Omkar Sonar" userId="d9d77359-733b-4e14-9c8a-6c2c230cf1c2" providerId="ADAL" clId="{F311D874-6D74-4A93-8F3A-37F0F685868B}" dt="2022-08-18T04:50:13.501" v="2438"/>
          <ac:spMkLst>
            <pc:docMk/>
            <pc:sldMk cId="4140056942" sldId="663"/>
            <ac:spMk id="6" creationId="{4CBDFD27-4F08-4C5B-BF53-90CA1700C61E}"/>
          </ac:spMkLst>
        </pc:spChg>
        <pc:spChg chg="add mod">
          <ac:chgData name="Omkar Sonar" userId="d9d77359-733b-4e14-9c8a-6c2c230cf1c2" providerId="ADAL" clId="{F311D874-6D74-4A93-8F3A-37F0F685868B}" dt="2022-08-18T04:50:13.501" v="2438"/>
          <ac:spMkLst>
            <pc:docMk/>
            <pc:sldMk cId="4140056942" sldId="663"/>
            <ac:spMk id="7" creationId="{499AF86C-E61A-432B-B3FA-C2CC26CDD2F2}"/>
          </ac:spMkLst>
        </pc:spChg>
        <pc:spChg chg="add mod">
          <ac:chgData name="Omkar Sonar" userId="d9d77359-733b-4e14-9c8a-6c2c230cf1c2" providerId="ADAL" clId="{F311D874-6D74-4A93-8F3A-37F0F685868B}" dt="2022-08-18T04:50:13.501" v="2438"/>
          <ac:spMkLst>
            <pc:docMk/>
            <pc:sldMk cId="4140056942" sldId="663"/>
            <ac:spMk id="8" creationId="{B28FB4DF-B89F-49BC-99FD-ED626424F1F2}"/>
          </ac:spMkLst>
        </pc:spChg>
        <pc:spChg chg="add mod">
          <ac:chgData name="Omkar Sonar" userId="d9d77359-733b-4e14-9c8a-6c2c230cf1c2" providerId="ADAL" clId="{F311D874-6D74-4A93-8F3A-37F0F685868B}" dt="2022-08-18T04:50:13.501" v="2438"/>
          <ac:spMkLst>
            <pc:docMk/>
            <pc:sldMk cId="4140056942" sldId="663"/>
            <ac:spMk id="18" creationId="{8A52C1AF-D7F7-47E0-AAFD-3B4EF9CBC32D}"/>
          </ac:spMkLst>
        </pc:spChg>
        <pc:spChg chg="add mod">
          <ac:chgData name="Omkar Sonar" userId="d9d77359-733b-4e14-9c8a-6c2c230cf1c2" providerId="ADAL" clId="{F311D874-6D74-4A93-8F3A-37F0F685868B}" dt="2022-08-18T04:50:13.501" v="2438"/>
          <ac:spMkLst>
            <pc:docMk/>
            <pc:sldMk cId="4140056942" sldId="663"/>
            <ac:spMk id="19" creationId="{0AFEF48D-40B3-4D52-9461-1AC79D65AA3B}"/>
          </ac:spMkLst>
        </pc:spChg>
        <pc:spChg chg="add mod">
          <ac:chgData name="Omkar Sonar" userId="d9d77359-733b-4e14-9c8a-6c2c230cf1c2" providerId="ADAL" clId="{F311D874-6D74-4A93-8F3A-37F0F685868B}" dt="2022-08-18T04:50:13.501" v="2438"/>
          <ac:spMkLst>
            <pc:docMk/>
            <pc:sldMk cId="4140056942" sldId="663"/>
            <ac:spMk id="20" creationId="{8DC44786-23A6-4EEC-A643-3600A7DC775B}"/>
          </ac:spMkLst>
        </pc:spChg>
        <pc:spChg chg="add mod">
          <ac:chgData name="Omkar Sonar" userId="d9d77359-733b-4e14-9c8a-6c2c230cf1c2" providerId="ADAL" clId="{F311D874-6D74-4A93-8F3A-37F0F685868B}" dt="2022-08-18T04:50:13.501" v="2438"/>
          <ac:spMkLst>
            <pc:docMk/>
            <pc:sldMk cId="4140056942" sldId="663"/>
            <ac:spMk id="23" creationId="{DC3EA993-1EAB-4888-901F-4C65611D65D5}"/>
          </ac:spMkLst>
        </pc:spChg>
        <pc:spChg chg="add mod">
          <ac:chgData name="Omkar Sonar" userId="d9d77359-733b-4e14-9c8a-6c2c230cf1c2" providerId="ADAL" clId="{F311D874-6D74-4A93-8F3A-37F0F685868B}" dt="2022-08-18T04:50:13.501" v="2438"/>
          <ac:spMkLst>
            <pc:docMk/>
            <pc:sldMk cId="4140056942" sldId="663"/>
            <ac:spMk id="24" creationId="{572885A2-AFBA-4B8D-9B67-1B9A22474341}"/>
          </ac:spMkLst>
        </pc:spChg>
        <pc:picChg chg="add del mod">
          <ac:chgData name="Omkar Sonar" userId="d9d77359-733b-4e14-9c8a-6c2c230cf1c2" providerId="ADAL" clId="{F311D874-6D74-4A93-8F3A-37F0F685868B}" dt="2022-08-18T04:50:15.482" v="2439" actId="21"/>
          <ac:picMkLst>
            <pc:docMk/>
            <pc:sldMk cId="4140056942" sldId="663"/>
            <ac:picMk id="4" creationId="{0E3A68DB-7491-4570-87C9-735F41B06B88}"/>
          </ac:picMkLst>
        </pc:picChg>
        <pc:picChg chg="add mod">
          <ac:chgData name="Omkar Sonar" userId="d9d77359-733b-4e14-9c8a-6c2c230cf1c2" providerId="ADAL" clId="{F311D874-6D74-4A93-8F3A-37F0F685868B}" dt="2022-08-18T04:50:13.501" v="2438"/>
          <ac:picMkLst>
            <pc:docMk/>
            <pc:sldMk cId="4140056942" sldId="663"/>
            <ac:picMk id="9" creationId="{A0FE15C5-D7D0-4F0D-98ED-E848627A50AD}"/>
          </ac:picMkLst>
        </pc:picChg>
        <pc:picChg chg="add mod">
          <ac:chgData name="Omkar Sonar" userId="d9d77359-733b-4e14-9c8a-6c2c230cf1c2" providerId="ADAL" clId="{F311D874-6D74-4A93-8F3A-37F0F685868B}" dt="2022-08-18T04:50:13.501" v="2438"/>
          <ac:picMkLst>
            <pc:docMk/>
            <pc:sldMk cId="4140056942" sldId="663"/>
            <ac:picMk id="10" creationId="{BEA27771-9CB3-455D-B315-7A621191CB27}"/>
          </ac:picMkLst>
        </pc:picChg>
        <pc:picChg chg="add mod">
          <ac:chgData name="Omkar Sonar" userId="d9d77359-733b-4e14-9c8a-6c2c230cf1c2" providerId="ADAL" clId="{F311D874-6D74-4A93-8F3A-37F0F685868B}" dt="2022-08-18T04:50:13.501" v="2438"/>
          <ac:picMkLst>
            <pc:docMk/>
            <pc:sldMk cId="4140056942" sldId="663"/>
            <ac:picMk id="11" creationId="{9B4D13E8-F570-40C3-ADFE-A032B97BC0EB}"/>
          </ac:picMkLst>
        </pc:picChg>
        <pc:picChg chg="add mod">
          <ac:chgData name="Omkar Sonar" userId="d9d77359-733b-4e14-9c8a-6c2c230cf1c2" providerId="ADAL" clId="{F311D874-6D74-4A93-8F3A-37F0F685868B}" dt="2022-08-18T04:50:13.501" v="2438"/>
          <ac:picMkLst>
            <pc:docMk/>
            <pc:sldMk cId="4140056942" sldId="663"/>
            <ac:picMk id="12" creationId="{15E4D8BF-985D-48CB-8728-ACDB99427A4E}"/>
          </ac:picMkLst>
        </pc:picChg>
        <pc:picChg chg="add mod">
          <ac:chgData name="Omkar Sonar" userId="d9d77359-733b-4e14-9c8a-6c2c230cf1c2" providerId="ADAL" clId="{F311D874-6D74-4A93-8F3A-37F0F685868B}" dt="2022-08-18T04:50:13.501" v="2438"/>
          <ac:picMkLst>
            <pc:docMk/>
            <pc:sldMk cId="4140056942" sldId="663"/>
            <ac:picMk id="13" creationId="{C84D6FDA-AC6B-4B44-8E80-699E976C6876}"/>
          </ac:picMkLst>
        </pc:picChg>
        <pc:picChg chg="add mod">
          <ac:chgData name="Omkar Sonar" userId="d9d77359-733b-4e14-9c8a-6c2c230cf1c2" providerId="ADAL" clId="{F311D874-6D74-4A93-8F3A-37F0F685868B}" dt="2022-08-18T04:50:13.501" v="2438"/>
          <ac:picMkLst>
            <pc:docMk/>
            <pc:sldMk cId="4140056942" sldId="663"/>
            <ac:picMk id="14" creationId="{7D5FD568-1D0E-4637-B3B4-37C58262FD36}"/>
          </ac:picMkLst>
        </pc:picChg>
        <pc:picChg chg="add mod">
          <ac:chgData name="Omkar Sonar" userId="d9d77359-733b-4e14-9c8a-6c2c230cf1c2" providerId="ADAL" clId="{F311D874-6D74-4A93-8F3A-37F0F685868B}" dt="2022-08-18T04:50:13.501" v="2438"/>
          <ac:picMkLst>
            <pc:docMk/>
            <pc:sldMk cId="4140056942" sldId="663"/>
            <ac:picMk id="15" creationId="{FC02E02B-78D4-4A99-A8DC-9D4110AD2210}"/>
          </ac:picMkLst>
        </pc:picChg>
        <pc:picChg chg="add mod">
          <ac:chgData name="Omkar Sonar" userId="d9d77359-733b-4e14-9c8a-6c2c230cf1c2" providerId="ADAL" clId="{F311D874-6D74-4A93-8F3A-37F0F685868B}" dt="2022-08-18T04:50:13.501" v="2438"/>
          <ac:picMkLst>
            <pc:docMk/>
            <pc:sldMk cId="4140056942" sldId="663"/>
            <ac:picMk id="16" creationId="{3158C75A-4519-4C8A-AD69-7B7FA6EB64DE}"/>
          </ac:picMkLst>
        </pc:picChg>
        <pc:picChg chg="add mod">
          <ac:chgData name="Omkar Sonar" userId="d9d77359-733b-4e14-9c8a-6c2c230cf1c2" providerId="ADAL" clId="{F311D874-6D74-4A93-8F3A-37F0F685868B}" dt="2022-08-18T04:50:13.501" v="2438"/>
          <ac:picMkLst>
            <pc:docMk/>
            <pc:sldMk cId="4140056942" sldId="663"/>
            <ac:picMk id="17" creationId="{4F5110B5-F1F4-46ED-8157-8A3B95FDD098}"/>
          </ac:picMkLst>
        </pc:picChg>
        <pc:picChg chg="add mod">
          <ac:chgData name="Omkar Sonar" userId="d9d77359-733b-4e14-9c8a-6c2c230cf1c2" providerId="ADAL" clId="{F311D874-6D74-4A93-8F3A-37F0F685868B}" dt="2022-08-18T04:50:13.501" v="2438"/>
          <ac:picMkLst>
            <pc:docMk/>
            <pc:sldMk cId="4140056942" sldId="663"/>
            <ac:picMk id="21" creationId="{0F28477C-FE65-4BC6-91DB-3605BFCCD555}"/>
          </ac:picMkLst>
        </pc:picChg>
      </pc:sldChg>
      <pc:sldChg chg="addSp delSp modSp add del mod">
        <pc:chgData name="Omkar Sonar" userId="d9d77359-733b-4e14-9c8a-6c2c230cf1c2" providerId="ADAL" clId="{F311D874-6D74-4A93-8F3A-37F0F685868B}" dt="2022-08-12T10:44:04.504" v="937" actId="47"/>
        <pc:sldMkLst>
          <pc:docMk/>
          <pc:sldMk cId="2877396106" sldId="664"/>
        </pc:sldMkLst>
        <pc:spChg chg="add del mod">
          <ac:chgData name="Omkar Sonar" userId="d9d77359-733b-4e14-9c8a-6c2c230cf1c2" providerId="ADAL" clId="{F311D874-6D74-4A93-8F3A-37F0F685868B}" dt="2022-08-12T10:41:54.500" v="872"/>
          <ac:spMkLst>
            <pc:docMk/>
            <pc:sldMk cId="2877396106" sldId="664"/>
            <ac:spMk id="2" creationId="{78099FAD-B4E4-4616-8198-CB39FADBC57D}"/>
          </ac:spMkLst>
        </pc:spChg>
        <pc:spChg chg="mod">
          <ac:chgData name="Omkar Sonar" userId="d9d77359-733b-4e14-9c8a-6c2c230cf1c2" providerId="ADAL" clId="{F311D874-6D74-4A93-8F3A-37F0F685868B}" dt="2022-08-12T10:05:10.548" v="284" actId="20577"/>
          <ac:spMkLst>
            <pc:docMk/>
            <pc:sldMk cId="2877396106" sldId="664"/>
            <ac:spMk id="5" creationId="{FCCF3808-435A-4E9D-895A-D83D62BECE10}"/>
          </ac:spMkLst>
        </pc:spChg>
      </pc:sldChg>
      <pc:sldChg chg="addSp delSp modSp add mod">
        <pc:chgData name="Omkar Sonar" userId="d9d77359-733b-4e14-9c8a-6c2c230cf1c2" providerId="ADAL" clId="{F311D874-6D74-4A93-8F3A-37F0F685868B}" dt="2022-08-18T04:52:15.104" v="2444"/>
        <pc:sldMkLst>
          <pc:docMk/>
          <pc:sldMk cId="612995476" sldId="665"/>
        </pc:sldMkLst>
        <pc:spChg chg="add del mod">
          <ac:chgData name="Omkar Sonar" userId="d9d77359-733b-4e14-9c8a-6c2c230cf1c2" providerId="ADAL" clId="{F311D874-6D74-4A93-8F3A-37F0F685868B}" dt="2022-08-18T04:52:14.340" v="2443" actId="478"/>
          <ac:spMkLst>
            <pc:docMk/>
            <pc:sldMk cId="612995476" sldId="665"/>
            <ac:spMk id="2" creationId="{4CF2C082-5B1C-47C3-8078-A9F0DAF7FB78}"/>
          </ac:spMkLst>
        </pc:spChg>
        <pc:spChg chg="mod">
          <ac:chgData name="Omkar Sonar" userId="d9d77359-733b-4e14-9c8a-6c2c230cf1c2" providerId="ADAL" clId="{F311D874-6D74-4A93-8F3A-37F0F685868B}" dt="2022-08-17T08:46:53.366" v="1103" actId="20577"/>
          <ac:spMkLst>
            <pc:docMk/>
            <pc:sldMk cId="612995476" sldId="665"/>
            <ac:spMk id="5" creationId="{FCCF3808-435A-4E9D-895A-D83D62BECE10}"/>
          </ac:spMkLst>
        </pc:spChg>
        <pc:spChg chg="add mod">
          <ac:chgData name="Omkar Sonar" userId="d9d77359-733b-4e14-9c8a-6c2c230cf1c2" providerId="ADAL" clId="{F311D874-6D74-4A93-8F3A-37F0F685868B}" dt="2022-08-18T04:52:15.104" v="2444"/>
          <ac:spMkLst>
            <pc:docMk/>
            <pc:sldMk cId="612995476" sldId="665"/>
            <ac:spMk id="8" creationId="{DA87DE65-6CC0-4B3B-B79E-FC5DFBC25741}"/>
          </ac:spMkLst>
        </pc:spChg>
        <pc:spChg chg="add mod">
          <ac:chgData name="Omkar Sonar" userId="d9d77359-733b-4e14-9c8a-6c2c230cf1c2" providerId="ADAL" clId="{F311D874-6D74-4A93-8F3A-37F0F685868B}" dt="2022-08-18T04:52:15.104" v="2444"/>
          <ac:spMkLst>
            <pc:docMk/>
            <pc:sldMk cId="612995476" sldId="665"/>
            <ac:spMk id="9" creationId="{3AE26FA4-CC18-47CF-B47D-1A2D7DDF0E14}"/>
          </ac:spMkLst>
        </pc:spChg>
        <pc:picChg chg="add mod">
          <ac:chgData name="Omkar Sonar" userId="d9d77359-733b-4e14-9c8a-6c2c230cf1c2" providerId="ADAL" clId="{F311D874-6D74-4A93-8F3A-37F0F685868B}" dt="2022-08-18T04:52:15.104" v="2444"/>
          <ac:picMkLst>
            <pc:docMk/>
            <pc:sldMk cId="612995476" sldId="665"/>
            <ac:picMk id="6" creationId="{8615E733-0254-4E4C-A9B6-CB1AC2F15819}"/>
          </ac:picMkLst>
        </pc:picChg>
        <pc:picChg chg="add mod">
          <ac:chgData name="Omkar Sonar" userId="d9d77359-733b-4e14-9c8a-6c2c230cf1c2" providerId="ADAL" clId="{F311D874-6D74-4A93-8F3A-37F0F685868B}" dt="2022-08-18T04:52:15.104" v="2444"/>
          <ac:picMkLst>
            <pc:docMk/>
            <pc:sldMk cId="612995476" sldId="665"/>
            <ac:picMk id="7" creationId="{1EA535BE-C1B1-4C50-9E82-C87D2C195C86}"/>
          </ac:picMkLst>
        </pc:picChg>
      </pc:sldChg>
      <pc:sldChg chg="addSp delSp modSp add mod">
        <pc:chgData name="Omkar Sonar" userId="d9d77359-733b-4e14-9c8a-6c2c230cf1c2" providerId="ADAL" clId="{F311D874-6D74-4A93-8F3A-37F0F685868B}" dt="2022-08-18T04:50:23.043" v="2442" actId="14100"/>
        <pc:sldMkLst>
          <pc:docMk/>
          <pc:sldMk cId="4195463015" sldId="666"/>
        </pc:sldMkLst>
        <pc:spChg chg="add del mod">
          <ac:chgData name="Omkar Sonar" userId="d9d77359-733b-4e14-9c8a-6c2c230cf1c2" providerId="ADAL" clId="{F311D874-6D74-4A93-8F3A-37F0F685868B}" dt="2022-08-18T04:50:01.596" v="2436"/>
          <ac:spMkLst>
            <pc:docMk/>
            <pc:sldMk cId="4195463015" sldId="666"/>
            <ac:spMk id="4" creationId="{75EC0AA5-CF9B-48A0-9970-E5B7F454A22C}"/>
          </ac:spMkLst>
        </pc:spChg>
        <pc:spChg chg="mod">
          <ac:chgData name="Omkar Sonar" userId="d9d77359-733b-4e14-9c8a-6c2c230cf1c2" providerId="ADAL" clId="{F311D874-6D74-4A93-8F3A-37F0F685868B}" dt="2022-08-12T10:06:20.949" v="345" actId="20577"/>
          <ac:spMkLst>
            <pc:docMk/>
            <pc:sldMk cId="4195463015" sldId="666"/>
            <ac:spMk id="5" creationId="{FCCF3808-435A-4E9D-895A-D83D62BECE10}"/>
          </ac:spMkLst>
        </pc:spChg>
        <pc:spChg chg="add del mod">
          <ac:chgData name="Omkar Sonar" userId="d9d77359-733b-4e14-9c8a-6c2c230cf1c2" providerId="ADAL" clId="{F311D874-6D74-4A93-8F3A-37F0F685868B}" dt="2022-08-18T04:50:01.596" v="2436"/>
          <ac:spMkLst>
            <pc:docMk/>
            <pc:sldMk cId="4195463015" sldId="666"/>
            <ac:spMk id="6" creationId="{BF678794-3A1D-4624-9B29-0523871395A1}"/>
          </ac:spMkLst>
        </pc:spChg>
        <pc:spChg chg="add del mod">
          <ac:chgData name="Omkar Sonar" userId="d9d77359-733b-4e14-9c8a-6c2c230cf1c2" providerId="ADAL" clId="{F311D874-6D74-4A93-8F3A-37F0F685868B}" dt="2022-08-18T04:50:01.596" v="2436"/>
          <ac:spMkLst>
            <pc:docMk/>
            <pc:sldMk cId="4195463015" sldId="666"/>
            <ac:spMk id="7" creationId="{BEBB625E-DE4A-4128-9754-998FD16DF5D3}"/>
          </ac:spMkLst>
        </pc:spChg>
        <pc:spChg chg="add del mod">
          <ac:chgData name="Omkar Sonar" userId="d9d77359-733b-4e14-9c8a-6c2c230cf1c2" providerId="ADAL" clId="{F311D874-6D74-4A93-8F3A-37F0F685868B}" dt="2022-08-18T04:50:01.596" v="2436"/>
          <ac:spMkLst>
            <pc:docMk/>
            <pc:sldMk cId="4195463015" sldId="666"/>
            <ac:spMk id="17" creationId="{AAFF3FE5-0BD1-4A7D-9C12-119167AB6FA7}"/>
          </ac:spMkLst>
        </pc:spChg>
        <pc:spChg chg="add del mod">
          <ac:chgData name="Omkar Sonar" userId="d9d77359-733b-4e14-9c8a-6c2c230cf1c2" providerId="ADAL" clId="{F311D874-6D74-4A93-8F3A-37F0F685868B}" dt="2022-08-18T04:50:01.596" v="2436"/>
          <ac:spMkLst>
            <pc:docMk/>
            <pc:sldMk cId="4195463015" sldId="666"/>
            <ac:spMk id="18" creationId="{7265E1C5-F3B0-449E-87E0-FE90D8ECCC91}"/>
          </ac:spMkLst>
        </pc:spChg>
        <pc:spChg chg="add del mod">
          <ac:chgData name="Omkar Sonar" userId="d9d77359-733b-4e14-9c8a-6c2c230cf1c2" providerId="ADAL" clId="{F311D874-6D74-4A93-8F3A-37F0F685868B}" dt="2022-08-18T04:50:01.596" v="2436"/>
          <ac:spMkLst>
            <pc:docMk/>
            <pc:sldMk cId="4195463015" sldId="666"/>
            <ac:spMk id="19" creationId="{B5A52C1E-188A-4D4D-85FB-02508B829788}"/>
          </ac:spMkLst>
        </pc:spChg>
        <pc:spChg chg="add del mod">
          <ac:chgData name="Omkar Sonar" userId="d9d77359-733b-4e14-9c8a-6c2c230cf1c2" providerId="ADAL" clId="{F311D874-6D74-4A93-8F3A-37F0F685868B}" dt="2022-08-18T04:50:01.596" v="2436"/>
          <ac:spMkLst>
            <pc:docMk/>
            <pc:sldMk cId="4195463015" sldId="666"/>
            <ac:spMk id="21" creationId="{68AB433C-3F5D-42F8-8B43-98A7630D2536}"/>
          </ac:spMkLst>
        </pc:spChg>
        <pc:spChg chg="add del mod">
          <ac:chgData name="Omkar Sonar" userId="d9d77359-733b-4e14-9c8a-6c2c230cf1c2" providerId="ADAL" clId="{F311D874-6D74-4A93-8F3A-37F0F685868B}" dt="2022-08-18T04:50:01.596" v="2436"/>
          <ac:spMkLst>
            <pc:docMk/>
            <pc:sldMk cId="4195463015" sldId="666"/>
            <ac:spMk id="23" creationId="{3D768F3B-113A-4732-BD94-B20EF006CE37}"/>
          </ac:spMkLst>
        </pc:spChg>
        <pc:picChg chg="add del mod">
          <ac:chgData name="Omkar Sonar" userId="d9d77359-733b-4e14-9c8a-6c2c230cf1c2" providerId="ADAL" clId="{F311D874-6D74-4A93-8F3A-37F0F685868B}" dt="2022-08-18T04:50:01.596" v="2436"/>
          <ac:picMkLst>
            <pc:docMk/>
            <pc:sldMk cId="4195463015" sldId="666"/>
            <ac:picMk id="8" creationId="{39263B25-3C3D-4F01-89DF-BA7B6263CC61}"/>
          </ac:picMkLst>
        </pc:picChg>
        <pc:picChg chg="add del mod">
          <ac:chgData name="Omkar Sonar" userId="d9d77359-733b-4e14-9c8a-6c2c230cf1c2" providerId="ADAL" clId="{F311D874-6D74-4A93-8F3A-37F0F685868B}" dt="2022-08-18T04:50:01.596" v="2436"/>
          <ac:picMkLst>
            <pc:docMk/>
            <pc:sldMk cId="4195463015" sldId="666"/>
            <ac:picMk id="9" creationId="{C92D034A-342C-4544-9C90-203520B2F714}"/>
          </ac:picMkLst>
        </pc:picChg>
        <pc:picChg chg="add del mod">
          <ac:chgData name="Omkar Sonar" userId="d9d77359-733b-4e14-9c8a-6c2c230cf1c2" providerId="ADAL" clId="{F311D874-6D74-4A93-8F3A-37F0F685868B}" dt="2022-08-18T04:50:01.596" v="2436"/>
          <ac:picMkLst>
            <pc:docMk/>
            <pc:sldMk cId="4195463015" sldId="666"/>
            <ac:picMk id="10" creationId="{75675CC6-AE57-41DC-8FFF-3743A9FCE9E2}"/>
          </ac:picMkLst>
        </pc:picChg>
        <pc:picChg chg="add del mod">
          <ac:chgData name="Omkar Sonar" userId="d9d77359-733b-4e14-9c8a-6c2c230cf1c2" providerId="ADAL" clId="{F311D874-6D74-4A93-8F3A-37F0F685868B}" dt="2022-08-18T04:50:01.596" v="2436"/>
          <ac:picMkLst>
            <pc:docMk/>
            <pc:sldMk cId="4195463015" sldId="666"/>
            <ac:picMk id="11" creationId="{D69C89E0-3DCD-41C1-BEB4-6459F43C683A}"/>
          </ac:picMkLst>
        </pc:picChg>
        <pc:picChg chg="add del mod">
          <ac:chgData name="Omkar Sonar" userId="d9d77359-733b-4e14-9c8a-6c2c230cf1c2" providerId="ADAL" clId="{F311D874-6D74-4A93-8F3A-37F0F685868B}" dt="2022-08-18T04:50:01.596" v="2436"/>
          <ac:picMkLst>
            <pc:docMk/>
            <pc:sldMk cId="4195463015" sldId="666"/>
            <ac:picMk id="12" creationId="{4D2269D4-38B8-4B10-9299-F2F7CE4C390E}"/>
          </ac:picMkLst>
        </pc:picChg>
        <pc:picChg chg="add del mod">
          <ac:chgData name="Omkar Sonar" userId="d9d77359-733b-4e14-9c8a-6c2c230cf1c2" providerId="ADAL" clId="{F311D874-6D74-4A93-8F3A-37F0F685868B}" dt="2022-08-18T04:50:01.596" v="2436"/>
          <ac:picMkLst>
            <pc:docMk/>
            <pc:sldMk cId="4195463015" sldId="666"/>
            <ac:picMk id="13" creationId="{10FE2141-8261-4398-B6D2-709A8A4E4769}"/>
          </ac:picMkLst>
        </pc:picChg>
        <pc:picChg chg="add del mod">
          <ac:chgData name="Omkar Sonar" userId="d9d77359-733b-4e14-9c8a-6c2c230cf1c2" providerId="ADAL" clId="{F311D874-6D74-4A93-8F3A-37F0F685868B}" dt="2022-08-18T04:50:01.596" v="2436"/>
          <ac:picMkLst>
            <pc:docMk/>
            <pc:sldMk cId="4195463015" sldId="666"/>
            <ac:picMk id="14" creationId="{C18BD734-87B0-44A5-8F5A-2916911E1DEC}"/>
          </ac:picMkLst>
        </pc:picChg>
        <pc:picChg chg="add del mod">
          <ac:chgData name="Omkar Sonar" userId="d9d77359-733b-4e14-9c8a-6c2c230cf1c2" providerId="ADAL" clId="{F311D874-6D74-4A93-8F3A-37F0F685868B}" dt="2022-08-18T04:50:01.596" v="2436"/>
          <ac:picMkLst>
            <pc:docMk/>
            <pc:sldMk cId="4195463015" sldId="666"/>
            <ac:picMk id="15" creationId="{6A6B3420-6BEB-481A-8672-27785EEBA146}"/>
          </ac:picMkLst>
        </pc:picChg>
        <pc:picChg chg="add del mod">
          <ac:chgData name="Omkar Sonar" userId="d9d77359-733b-4e14-9c8a-6c2c230cf1c2" providerId="ADAL" clId="{F311D874-6D74-4A93-8F3A-37F0F685868B}" dt="2022-08-18T04:50:01.596" v="2436"/>
          <ac:picMkLst>
            <pc:docMk/>
            <pc:sldMk cId="4195463015" sldId="666"/>
            <ac:picMk id="16" creationId="{0E4D8122-628D-407A-A525-A61C83B6F2EF}"/>
          </ac:picMkLst>
        </pc:picChg>
        <pc:picChg chg="add del mod">
          <ac:chgData name="Omkar Sonar" userId="d9d77359-733b-4e14-9c8a-6c2c230cf1c2" providerId="ADAL" clId="{F311D874-6D74-4A93-8F3A-37F0F685868B}" dt="2022-08-18T04:50:01.596" v="2436"/>
          <ac:picMkLst>
            <pc:docMk/>
            <pc:sldMk cId="4195463015" sldId="666"/>
            <ac:picMk id="20" creationId="{144DD47B-F8B2-4078-8CA1-324528113AC2}"/>
          </ac:picMkLst>
        </pc:picChg>
        <pc:picChg chg="add mod">
          <ac:chgData name="Omkar Sonar" userId="d9d77359-733b-4e14-9c8a-6c2c230cf1c2" providerId="ADAL" clId="{F311D874-6D74-4A93-8F3A-37F0F685868B}" dt="2022-08-18T04:50:23.043" v="2442" actId="14100"/>
          <ac:picMkLst>
            <pc:docMk/>
            <pc:sldMk cId="4195463015" sldId="666"/>
            <ac:picMk id="24" creationId="{5C888F7F-A538-4B66-899E-21DACB1C1AEF}"/>
          </ac:picMkLst>
        </pc:picChg>
      </pc:sldChg>
    </pc:docChg>
  </pc:docChgLst>
  <pc:docChgLst>
    <pc:chgData name="Omkar Sonar" userId="d9d77359-733b-4e14-9c8a-6c2c230cf1c2" providerId="ADAL" clId="{898EBF21-956A-47F5-81A7-81DCCD4C34E7}"/>
    <pc:docChg chg="undo custSel addSld modSld modSection">
      <pc:chgData name="Omkar Sonar" userId="d9d77359-733b-4e14-9c8a-6c2c230cf1c2" providerId="ADAL" clId="{898EBF21-956A-47F5-81A7-81DCCD4C34E7}" dt="2022-05-12T12:35:54.701" v="5218" actId="20577"/>
      <pc:docMkLst>
        <pc:docMk/>
      </pc:docMkLst>
      <pc:sldChg chg="addSp delSp modSp new mod chgLayout">
        <pc:chgData name="Omkar Sonar" userId="d9d77359-733b-4e14-9c8a-6c2c230cf1c2" providerId="ADAL" clId="{898EBF21-956A-47F5-81A7-81DCCD4C34E7}" dt="2022-05-12T11:43:12.396" v="2951" actId="20577"/>
        <pc:sldMkLst>
          <pc:docMk/>
          <pc:sldMk cId="1887214738" sldId="656"/>
        </pc:sldMkLst>
        <pc:spChg chg="mod ord">
          <ac:chgData name="Omkar Sonar" userId="d9d77359-733b-4e14-9c8a-6c2c230cf1c2" providerId="ADAL" clId="{898EBF21-956A-47F5-81A7-81DCCD4C34E7}" dt="2022-05-11T11:57:14.684" v="1" actId="700"/>
          <ac:spMkLst>
            <pc:docMk/>
            <pc:sldMk cId="1887214738" sldId="656"/>
            <ac:spMk id="2" creationId="{8786F797-8D92-4E5D-B265-8E66962DC5D0}"/>
          </ac:spMkLst>
        </pc:spChg>
        <pc:spChg chg="del mod ord">
          <ac:chgData name="Omkar Sonar" userId="d9d77359-733b-4e14-9c8a-6c2c230cf1c2" providerId="ADAL" clId="{898EBF21-956A-47F5-81A7-81DCCD4C34E7}" dt="2022-05-11T11:57:14.684" v="1" actId="700"/>
          <ac:spMkLst>
            <pc:docMk/>
            <pc:sldMk cId="1887214738" sldId="656"/>
            <ac:spMk id="3" creationId="{7BCF9627-A1EB-4143-9939-218D4851120F}"/>
          </ac:spMkLst>
        </pc:spChg>
        <pc:spChg chg="del mod ord">
          <ac:chgData name="Omkar Sonar" userId="d9d77359-733b-4e14-9c8a-6c2c230cf1c2" providerId="ADAL" clId="{898EBF21-956A-47F5-81A7-81DCCD4C34E7}" dt="2022-05-11T11:57:14.684" v="1" actId="700"/>
          <ac:spMkLst>
            <pc:docMk/>
            <pc:sldMk cId="1887214738" sldId="656"/>
            <ac:spMk id="4" creationId="{8DE5FB4D-5FBE-425D-AFEF-D561F063E981}"/>
          </ac:spMkLst>
        </pc:spChg>
        <pc:spChg chg="add mod ord">
          <ac:chgData name="Omkar Sonar" userId="d9d77359-733b-4e14-9c8a-6c2c230cf1c2" providerId="ADAL" clId="{898EBF21-956A-47F5-81A7-81DCCD4C34E7}" dt="2022-05-12T11:43:12.396" v="2951" actId="20577"/>
          <ac:spMkLst>
            <pc:docMk/>
            <pc:sldMk cId="1887214738" sldId="656"/>
            <ac:spMk id="5" creationId="{C6865424-9B5A-4E90-89E5-D58B98467A11}"/>
          </ac:spMkLst>
        </pc:spChg>
        <pc:spChg chg="add del mod ord">
          <ac:chgData name="Omkar Sonar" userId="d9d77359-733b-4e14-9c8a-6c2c230cf1c2" providerId="ADAL" clId="{898EBF21-956A-47F5-81A7-81DCCD4C34E7}" dt="2022-05-11T11:57:22.459" v="2" actId="478"/>
          <ac:spMkLst>
            <pc:docMk/>
            <pc:sldMk cId="1887214738" sldId="656"/>
            <ac:spMk id="6" creationId="{94D6A2C7-6B81-45A9-AFB2-C354B8195C8E}"/>
          </ac:spMkLst>
        </pc:spChg>
        <pc:spChg chg="add del mod ord">
          <ac:chgData name="Omkar Sonar" userId="d9d77359-733b-4e14-9c8a-6c2c230cf1c2" providerId="ADAL" clId="{898EBF21-956A-47F5-81A7-81DCCD4C34E7}" dt="2022-05-11T11:57:24.746" v="3" actId="478"/>
          <ac:spMkLst>
            <pc:docMk/>
            <pc:sldMk cId="1887214738" sldId="656"/>
            <ac:spMk id="7" creationId="{084B605D-5C34-496F-848D-7C017778352A}"/>
          </ac:spMkLst>
        </pc:spChg>
        <pc:spChg chg="add mod">
          <ac:chgData name="Omkar Sonar" userId="d9d77359-733b-4e14-9c8a-6c2c230cf1c2" providerId="ADAL" clId="{898EBF21-956A-47F5-81A7-81DCCD4C34E7}" dt="2022-05-11T13:09:33.703" v="2085" actId="20577"/>
          <ac:spMkLst>
            <pc:docMk/>
            <pc:sldMk cId="1887214738" sldId="656"/>
            <ac:spMk id="8" creationId="{D5F14871-C013-402F-A1AF-F075DEDC6E3C}"/>
          </ac:spMkLst>
        </pc:spChg>
        <pc:spChg chg="add del">
          <ac:chgData name="Omkar Sonar" userId="d9d77359-733b-4e14-9c8a-6c2c230cf1c2" providerId="ADAL" clId="{898EBF21-956A-47F5-81A7-81DCCD4C34E7}" dt="2022-05-11T11:59:24.869" v="57" actId="478"/>
          <ac:spMkLst>
            <pc:docMk/>
            <pc:sldMk cId="1887214738" sldId="656"/>
            <ac:spMk id="9" creationId="{DFBA49CB-287B-457E-A7A1-4C64C028CA69}"/>
          </ac:spMkLst>
        </pc:spChg>
        <pc:spChg chg="add del mod">
          <ac:chgData name="Omkar Sonar" userId="d9d77359-733b-4e14-9c8a-6c2c230cf1c2" providerId="ADAL" clId="{898EBF21-956A-47F5-81A7-81DCCD4C34E7}" dt="2022-05-11T12:00:21.687" v="110" actId="478"/>
          <ac:spMkLst>
            <pc:docMk/>
            <pc:sldMk cId="1887214738" sldId="656"/>
            <ac:spMk id="10" creationId="{D83D2A9C-E496-4A30-975B-1AA10CDF6AF8}"/>
          </ac:spMkLst>
        </pc:spChg>
        <pc:spChg chg="add del mod">
          <ac:chgData name="Omkar Sonar" userId="d9d77359-733b-4e14-9c8a-6c2c230cf1c2" providerId="ADAL" clId="{898EBF21-956A-47F5-81A7-81DCCD4C34E7}" dt="2022-05-11T12:16:40.998" v="219" actId="478"/>
          <ac:spMkLst>
            <pc:docMk/>
            <pc:sldMk cId="1887214738" sldId="656"/>
            <ac:spMk id="11" creationId="{1C80D8D1-6348-41EE-81CC-5A8AB1E5A2BB}"/>
          </ac:spMkLst>
        </pc:spChg>
        <pc:spChg chg="add del mod">
          <ac:chgData name="Omkar Sonar" userId="d9d77359-733b-4e14-9c8a-6c2c230cf1c2" providerId="ADAL" clId="{898EBF21-956A-47F5-81A7-81DCCD4C34E7}" dt="2022-05-11T12:16:36.050" v="218" actId="478"/>
          <ac:spMkLst>
            <pc:docMk/>
            <pc:sldMk cId="1887214738" sldId="656"/>
            <ac:spMk id="12" creationId="{44B6DBF1-5DCA-4B8F-B004-6C3A240F5D12}"/>
          </ac:spMkLst>
        </pc:spChg>
        <pc:spChg chg="add mod">
          <ac:chgData name="Omkar Sonar" userId="d9d77359-733b-4e14-9c8a-6c2c230cf1c2" providerId="ADAL" clId="{898EBF21-956A-47F5-81A7-81DCCD4C34E7}" dt="2022-05-12T11:42:30.995" v="2932" actId="13822"/>
          <ac:spMkLst>
            <pc:docMk/>
            <pc:sldMk cId="1887214738" sldId="656"/>
            <ac:spMk id="13" creationId="{D6A077CA-87D8-4D7B-99F0-660EAD217603}"/>
          </ac:spMkLst>
        </pc:spChg>
        <pc:spChg chg="add mod">
          <ac:chgData name="Omkar Sonar" userId="d9d77359-733b-4e14-9c8a-6c2c230cf1c2" providerId="ADAL" clId="{898EBF21-956A-47F5-81A7-81DCCD4C34E7}" dt="2022-05-12T11:42:30.995" v="2932" actId="13822"/>
          <ac:spMkLst>
            <pc:docMk/>
            <pc:sldMk cId="1887214738" sldId="656"/>
            <ac:spMk id="14" creationId="{411F09BB-B0E0-4501-A1AA-CDBA7855F90E}"/>
          </ac:spMkLst>
        </pc:spChg>
        <pc:spChg chg="add mod">
          <ac:chgData name="Omkar Sonar" userId="d9d77359-733b-4e14-9c8a-6c2c230cf1c2" providerId="ADAL" clId="{898EBF21-956A-47F5-81A7-81DCCD4C34E7}" dt="2022-05-12T11:42:30.995" v="2932" actId="13822"/>
          <ac:spMkLst>
            <pc:docMk/>
            <pc:sldMk cId="1887214738" sldId="656"/>
            <ac:spMk id="15" creationId="{BB18A643-5648-434B-9D2B-9E62F7FC4D2E}"/>
          </ac:spMkLst>
        </pc:spChg>
        <pc:spChg chg="add mod">
          <ac:chgData name="Omkar Sonar" userId="d9d77359-733b-4e14-9c8a-6c2c230cf1c2" providerId="ADAL" clId="{898EBF21-956A-47F5-81A7-81DCCD4C34E7}" dt="2022-05-11T12:39:28.687" v="521" actId="20577"/>
          <ac:spMkLst>
            <pc:docMk/>
            <pc:sldMk cId="1887214738" sldId="656"/>
            <ac:spMk id="16" creationId="{566A84E3-63A9-4BC6-9EDB-5FF1D10300E3}"/>
          </ac:spMkLst>
        </pc:spChg>
        <pc:spChg chg="add mod">
          <ac:chgData name="Omkar Sonar" userId="d9d77359-733b-4e14-9c8a-6c2c230cf1c2" providerId="ADAL" clId="{898EBF21-956A-47F5-81A7-81DCCD4C34E7}" dt="2022-05-11T12:39:19.059" v="516" actId="20577"/>
          <ac:spMkLst>
            <pc:docMk/>
            <pc:sldMk cId="1887214738" sldId="656"/>
            <ac:spMk id="17" creationId="{60D2752C-6D93-4724-B762-EAF0087AFE63}"/>
          </ac:spMkLst>
        </pc:spChg>
        <pc:spChg chg="add mod">
          <ac:chgData name="Omkar Sonar" userId="d9d77359-733b-4e14-9c8a-6c2c230cf1c2" providerId="ADAL" clId="{898EBF21-956A-47F5-81A7-81DCCD4C34E7}" dt="2022-05-12T11:42:30.995" v="2932" actId="13822"/>
          <ac:spMkLst>
            <pc:docMk/>
            <pc:sldMk cId="1887214738" sldId="656"/>
            <ac:spMk id="18" creationId="{8F3C55B4-DBAF-402C-AA4C-7B9516B3B77D}"/>
          </ac:spMkLst>
        </pc:spChg>
        <pc:spChg chg="add mod">
          <ac:chgData name="Omkar Sonar" userId="d9d77359-733b-4e14-9c8a-6c2c230cf1c2" providerId="ADAL" clId="{898EBF21-956A-47F5-81A7-81DCCD4C34E7}" dt="2022-05-11T12:55:39.685" v="1204" actId="1076"/>
          <ac:spMkLst>
            <pc:docMk/>
            <pc:sldMk cId="1887214738" sldId="656"/>
            <ac:spMk id="19" creationId="{5EBC1CDC-DAF5-4A18-8C7B-1CFC330A0C29}"/>
          </ac:spMkLst>
        </pc:spChg>
        <pc:spChg chg="add mod">
          <ac:chgData name="Omkar Sonar" userId="d9d77359-733b-4e14-9c8a-6c2c230cf1c2" providerId="ADAL" clId="{898EBF21-956A-47F5-81A7-81DCCD4C34E7}" dt="2022-05-12T11:42:30.995" v="2932" actId="13822"/>
          <ac:spMkLst>
            <pc:docMk/>
            <pc:sldMk cId="1887214738" sldId="656"/>
            <ac:spMk id="20" creationId="{03F79DE5-7230-4D85-926F-502FBBAD60A8}"/>
          </ac:spMkLst>
        </pc:spChg>
        <pc:spChg chg="add mod">
          <ac:chgData name="Omkar Sonar" userId="d9d77359-733b-4e14-9c8a-6c2c230cf1c2" providerId="ADAL" clId="{898EBF21-956A-47F5-81A7-81DCCD4C34E7}" dt="2022-05-11T12:56:04.441" v="1212" actId="1076"/>
          <ac:spMkLst>
            <pc:docMk/>
            <pc:sldMk cId="1887214738" sldId="656"/>
            <ac:spMk id="21" creationId="{BE1DF3A5-B035-42F2-8AB7-2250D3E12E66}"/>
          </ac:spMkLst>
        </pc:spChg>
        <pc:spChg chg="add mod">
          <ac:chgData name="Omkar Sonar" userId="d9d77359-733b-4e14-9c8a-6c2c230cf1c2" providerId="ADAL" clId="{898EBF21-956A-47F5-81A7-81DCCD4C34E7}" dt="2022-05-12T11:42:30.995" v="2932" actId="13822"/>
          <ac:spMkLst>
            <pc:docMk/>
            <pc:sldMk cId="1887214738" sldId="656"/>
            <ac:spMk id="22" creationId="{AD11FDE0-8452-4354-8AB7-FAE4FEDC9E03}"/>
          </ac:spMkLst>
        </pc:spChg>
        <pc:spChg chg="add mod">
          <ac:chgData name="Omkar Sonar" userId="d9d77359-733b-4e14-9c8a-6c2c230cf1c2" providerId="ADAL" clId="{898EBF21-956A-47F5-81A7-81DCCD4C34E7}" dt="2022-05-11T12:56:20.533" v="1217" actId="1036"/>
          <ac:spMkLst>
            <pc:docMk/>
            <pc:sldMk cId="1887214738" sldId="656"/>
            <ac:spMk id="23" creationId="{4139C95D-9DDA-4465-A624-3EA58E3CCDB1}"/>
          </ac:spMkLst>
        </pc:spChg>
        <pc:spChg chg="add mod">
          <ac:chgData name="Omkar Sonar" userId="d9d77359-733b-4e14-9c8a-6c2c230cf1c2" providerId="ADAL" clId="{898EBF21-956A-47F5-81A7-81DCCD4C34E7}" dt="2022-05-12T11:42:30.995" v="2932" actId="13822"/>
          <ac:spMkLst>
            <pc:docMk/>
            <pc:sldMk cId="1887214738" sldId="656"/>
            <ac:spMk id="24" creationId="{7856DA8F-ADE3-4F4F-A75D-45CD879AD246}"/>
          </ac:spMkLst>
        </pc:spChg>
        <pc:spChg chg="add mod">
          <ac:chgData name="Omkar Sonar" userId="d9d77359-733b-4e14-9c8a-6c2c230cf1c2" providerId="ADAL" clId="{898EBF21-956A-47F5-81A7-81DCCD4C34E7}" dt="2022-05-11T12:56:38.156" v="1221" actId="14100"/>
          <ac:spMkLst>
            <pc:docMk/>
            <pc:sldMk cId="1887214738" sldId="656"/>
            <ac:spMk id="25" creationId="{80A4E897-40BF-400B-9419-3FC0866D318B}"/>
          </ac:spMkLst>
        </pc:spChg>
        <pc:spChg chg="add del">
          <ac:chgData name="Omkar Sonar" userId="d9d77359-733b-4e14-9c8a-6c2c230cf1c2" providerId="ADAL" clId="{898EBF21-956A-47F5-81A7-81DCCD4C34E7}" dt="2022-05-11T12:47:41.603" v="1198" actId="478"/>
          <ac:spMkLst>
            <pc:docMk/>
            <pc:sldMk cId="1887214738" sldId="656"/>
            <ac:spMk id="26" creationId="{705673EF-DAE2-4ED0-85D0-512924C5095F}"/>
          </ac:spMkLst>
        </pc:spChg>
        <pc:cxnChg chg="add mod">
          <ac:chgData name="Omkar Sonar" userId="d9d77359-733b-4e14-9c8a-6c2c230cf1c2" providerId="ADAL" clId="{898EBF21-956A-47F5-81A7-81DCCD4C34E7}" dt="2022-05-12T11:42:30.995" v="2932" actId="13822"/>
          <ac:cxnSpMkLst>
            <pc:docMk/>
            <pc:sldMk cId="1887214738" sldId="656"/>
            <ac:cxnSpMk id="28" creationId="{7D75EC0F-6739-4188-A9AD-DFCB566CA820}"/>
          </ac:cxnSpMkLst>
        </pc:cxnChg>
        <pc:cxnChg chg="add mod">
          <ac:chgData name="Omkar Sonar" userId="d9d77359-733b-4e14-9c8a-6c2c230cf1c2" providerId="ADAL" clId="{898EBF21-956A-47F5-81A7-81DCCD4C34E7}" dt="2022-05-12T11:42:30.995" v="2932" actId="13822"/>
          <ac:cxnSpMkLst>
            <pc:docMk/>
            <pc:sldMk cId="1887214738" sldId="656"/>
            <ac:cxnSpMk id="30" creationId="{87CCFEB7-3AD2-4370-9883-745CB7B27DA3}"/>
          </ac:cxnSpMkLst>
        </pc:cxnChg>
        <pc:cxnChg chg="add mod">
          <ac:chgData name="Omkar Sonar" userId="d9d77359-733b-4e14-9c8a-6c2c230cf1c2" providerId="ADAL" clId="{898EBF21-956A-47F5-81A7-81DCCD4C34E7}" dt="2022-05-12T11:42:30.995" v="2932" actId="13822"/>
          <ac:cxnSpMkLst>
            <pc:docMk/>
            <pc:sldMk cId="1887214738" sldId="656"/>
            <ac:cxnSpMk id="32" creationId="{863F5A8F-F8BB-4909-AB58-852D98DB67CF}"/>
          </ac:cxnSpMkLst>
        </pc:cxnChg>
        <pc:cxnChg chg="add mod">
          <ac:chgData name="Omkar Sonar" userId="d9d77359-733b-4e14-9c8a-6c2c230cf1c2" providerId="ADAL" clId="{898EBF21-956A-47F5-81A7-81DCCD4C34E7}" dt="2022-05-12T11:42:30.995" v="2932" actId="13822"/>
          <ac:cxnSpMkLst>
            <pc:docMk/>
            <pc:sldMk cId="1887214738" sldId="656"/>
            <ac:cxnSpMk id="34" creationId="{84B92B0A-7BE8-4D41-8BE3-B4DB8B8385DA}"/>
          </ac:cxnSpMkLst>
        </pc:cxnChg>
        <pc:cxnChg chg="add mod">
          <ac:chgData name="Omkar Sonar" userId="d9d77359-733b-4e14-9c8a-6c2c230cf1c2" providerId="ADAL" clId="{898EBF21-956A-47F5-81A7-81DCCD4C34E7}" dt="2022-05-12T11:42:30.995" v="2932" actId="13822"/>
          <ac:cxnSpMkLst>
            <pc:docMk/>
            <pc:sldMk cId="1887214738" sldId="656"/>
            <ac:cxnSpMk id="39" creationId="{A3E066FF-BB01-4EEF-8DA6-79341E30385E}"/>
          </ac:cxnSpMkLst>
        </pc:cxnChg>
        <pc:cxnChg chg="add mod">
          <ac:chgData name="Omkar Sonar" userId="d9d77359-733b-4e14-9c8a-6c2c230cf1c2" providerId="ADAL" clId="{898EBF21-956A-47F5-81A7-81DCCD4C34E7}" dt="2022-05-12T11:42:30.995" v="2932" actId="13822"/>
          <ac:cxnSpMkLst>
            <pc:docMk/>
            <pc:sldMk cId="1887214738" sldId="656"/>
            <ac:cxnSpMk id="41" creationId="{E1C18EB0-2363-4FBA-84AD-AA384C378D10}"/>
          </ac:cxnSpMkLst>
        </pc:cxnChg>
      </pc:sldChg>
      <pc:sldChg chg="addSp delSp modSp add mod">
        <pc:chgData name="Omkar Sonar" userId="d9d77359-733b-4e14-9c8a-6c2c230cf1c2" providerId="ADAL" clId="{898EBF21-956A-47F5-81A7-81DCCD4C34E7}" dt="2022-05-12T11:43:00.430" v="2937" actId="20577"/>
        <pc:sldMkLst>
          <pc:docMk/>
          <pc:sldMk cId="4102784048" sldId="657"/>
        </pc:sldMkLst>
        <pc:spChg chg="mod">
          <ac:chgData name="Omkar Sonar" userId="d9d77359-733b-4e14-9c8a-6c2c230cf1c2" providerId="ADAL" clId="{898EBF21-956A-47F5-81A7-81DCCD4C34E7}" dt="2022-05-12T11:43:00.430" v="2937" actId="20577"/>
          <ac:spMkLst>
            <pc:docMk/>
            <pc:sldMk cId="4102784048" sldId="657"/>
            <ac:spMk id="5" creationId="{C6865424-9B5A-4E90-89E5-D58B98467A11}"/>
          </ac:spMkLst>
        </pc:spChg>
        <pc:spChg chg="mod">
          <ac:chgData name="Omkar Sonar" userId="d9d77359-733b-4e14-9c8a-6c2c230cf1c2" providerId="ADAL" clId="{898EBF21-956A-47F5-81A7-81DCCD4C34E7}" dt="2022-05-11T13:11:09.793" v="2088" actId="20577"/>
          <ac:spMkLst>
            <pc:docMk/>
            <pc:sldMk cId="4102784048" sldId="657"/>
            <ac:spMk id="8" creationId="{D5F14871-C013-402F-A1AF-F075DEDC6E3C}"/>
          </ac:spMkLst>
        </pc:spChg>
        <pc:spChg chg="mod">
          <ac:chgData name="Omkar Sonar" userId="d9d77359-733b-4e14-9c8a-6c2c230cf1c2" providerId="ADAL" clId="{898EBF21-956A-47F5-81A7-81DCCD4C34E7}" dt="2022-05-12T11:42:46.667" v="2933" actId="13822"/>
          <ac:spMkLst>
            <pc:docMk/>
            <pc:sldMk cId="4102784048" sldId="657"/>
            <ac:spMk id="13" creationId="{D6A077CA-87D8-4D7B-99F0-660EAD217603}"/>
          </ac:spMkLst>
        </pc:spChg>
        <pc:spChg chg="mod">
          <ac:chgData name="Omkar Sonar" userId="d9d77359-733b-4e14-9c8a-6c2c230cf1c2" providerId="ADAL" clId="{898EBF21-956A-47F5-81A7-81DCCD4C34E7}" dt="2022-05-12T11:42:46.667" v="2933" actId="13822"/>
          <ac:spMkLst>
            <pc:docMk/>
            <pc:sldMk cId="4102784048" sldId="657"/>
            <ac:spMk id="14" creationId="{411F09BB-B0E0-4501-A1AA-CDBA7855F90E}"/>
          </ac:spMkLst>
        </pc:spChg>
        <pc:spChg chg="mod">
          <ac:chgData name="Omkar Sonar" userId="d9d77359-733b-4e14-9c8a-6c2c230cf1c2" providerId="ADAL" clId="{898EBF21-956A-47F5-81A7-81DCCD4C34E7}" dt="2022-05-12T11:42:46.667" v="2933" actId="13822"/>
          <ac:spMkLst>
            <pc:docMk/>
            <pc:sldMk cId="4102784048" sldId="657"/>
            <ac:spMk id="15" creationId="{BB18A643-5648-434B-9D2B-9E62F7FC4D2E}"/>
          </ac:spMkLst>
        </pc:spChg>
        <pc:spChg chg="mod">
          <ac:chgData name="Omkar Sonar" userId="d9d77359-733b-4e14-9c8a-6c2c230cf1c2" providerId="ADAL" clId="{898EBF21-956A-47F5-81A7-81DCCD4C34E7}" dt="2022-05-11T12:59:25.350" v="1281" actId="20577"/>
          <ac:spMkLst>
            <pc:docMk/>
            <pc:sldMk cId="4102784048" sldId="657"/>
            <ac:spMk id="16" creationId="{566A84E3-63A9-4BC6-9EDB-5FF1D10300E3}"/>
          </ac:spMkLst>
        </pc:spChg>
        <pc:spChg chg="mod">
          <ac:chgData name="Omkar Sonar" userId="d9d77359-733b-4e14-9c8a-6c2c230cf1c2" providerId="ADAL" clId="{898EBF21-956A-47F5-81A7-81DCCD4C34E7}" dt="2022-05-11T12:59:58.443" v="1361" actId="14100"/>
          <ac:spMkLst>
            <pc:docMk/>
            <pc:sldMk cId="4102784048" sldId="657"/>
            <ac:spMk id="17" creationId="{60D2752C-6D93-4724-B762-EAF0087AFE63}"/>
          </ac:spMkLst>
        </pc:spChg>
        <pc:spChg chg="mod">
          <ac:chgData name="Omkar Sonar" userId="d9d77359-733b-4e14-9c8a-6c2c230cf1c2" providerId="ADAL" clId="{898EBF21-956A-47F5-81A7-81DCCD4C34E7}" dt="2022-05-12T11:42:46.667" v="2933" actId="13822"/>
          <ac:spMkLst>
            <pc:docMk/>
            <pc:sldMk cId="4102784048" sldId="657"/>
            <ac:spMk id="18" creationId="{8F3C55B4-DBAF-402C-AA4C-7B9516B3B77D}"/>
          </ac:spMkLst>
        </pc:spChg>
        <pc:spChg chg="mod">
          <ac:chgData name="Omkar Sonar" userId="d9d77359-733b-4e14-9c8a-6c2c230cf1c2" providerId="ADAL" clId="{898EBF21-956A-47F5-81A7-81DCCD4C34E7}" dt="2022-05-11T13:00:51.400" v="1479" actId="14100"/>
          <ac:spMkLst>
            <pc:docMk/>
            <pc:sldMk cId="4102784048" sldId="657"/>
            <ac:spMk id="19" creationId="{5EBC1CDC-DAF5-4A18-8C7B-1CFC330A0C29}"/>
          </ac:spMkLst>
        </pc:spChg>
        <pc:spChg chg="mod">
          <ac:chgData name="Omkar Sonar" userId="d9d77359-733b-4e14-9c8a-6c2c230cf1c2" providerId="ADAL" clId="{898EBF21-956A-47F5-81A7-81DCCD4C34E7}" dt="2022-05-12T11:42:46.667" v="2933" actId="13822"/>
          <ac:spMkLst>
            <pc:docMk/>
            <pc:sldMk cId="4102784048" sldId="657"/>
            <ac:spMk id="20" creationId="{03F79DE5-7230-4D85-926F-502FBBAD60A8}"/>
          </ac:spMkLst>
        </pc:spChg>
        <pc:spChg chg="mod">
          <ac:chgData name="Omkar Sonar" userId="d9d77359-733b-4e14-9c8a-6c2c230cf1c2" providerId="ADAL" clId="{898EBF21-956A-47F5-81A7-81DCCD4C34E7}" dt="2022-05-11T13:01:43.118" v="1622" actId="20577"/>
          <ac:spMkLst>
            <pc:docMk/>
            <pc:sldMk cId="4102784048" sldId="657"/>
            <ac:spMk id="21" creationId="{BE1DF3A5-B035-42F2-8AB7-2250D3E12E66}"/>
          </ac:spMkLst>
        </pc:spChg>
        <pc:spChg chg="mod">
          <ac:chgData name="Omkar Sonar" userId="d9d77359-733b-4e14-9c8a-6c2c230cf1c2" providerId="ADAL" clId="{898EBF21-956A-47F5-81A7-81DCCD4C34E7}" dt="2022-05-12T11:42:46.667" v="2933" actId="13822"/>
          <ac:spMkLst>
            <pc:docMk/>
            <pc:sldMk cId="4102784048" sldId="657"/>
            <ac:spMk id="22" creationId="{AD11FDE0-8452-4354-8AB7-FAE4FEDC9E03}"/>
          </ac:spMkLst>
        </pc:spChg>
        <pc:spChg chg="mod">
          <ac:chgData name="Omkar Sonar" userId="d9d77359-733b-4e14-9c8a-6c2c230cf1c2" providerId="ADAL" clId="{898EBF21-956A-47F5-81A7-81DCCD4C34E7}" dt="2022-05-11T13:08:12.797" v="2083" actId="20577"/>
          <ac:spMkLst>
            <pc:docMk/>
            <pc:sldMk cId="4102784048" sldId="657"/>
            <ac:spMk id="23" creationId="{4139C95D-9DDA-4465-A624-3EA58E3CCDB1}"/>
          </ac:spMkLst>
        </pc:spChg>
        <pc:spChg chg="del mod">
          <ac:chgData name="Omkar Sonar" userId="d9d77359-733b-4e14-9c8a-6c2c230cf1c2" providerId="ADAL" clId="{898EBF21-956A-47F5-81A7-81DCCD4C34E7}" dt="2022-05-11T13:07:08.525" v="1922" actId="478"/>
          <ac:spMkLst>
            <pc:docMk/>
            <pc:sldMk cId="4102784048" sldId="657"/>
            <ac:spMk id="24" creationId="{7856DA8F-ADE3-4F4F-A75D-45CD879AD246}"/>
          </ac:spMkLst>
        </pc:spChg>
        <pc:spChg chg="del mod">
          <ac:chgData name="Omkar Sonar" userId="d9d77359-733b-4e14-9c8a-6c2c230cf1c2" providerId="ADAL" clId="{898EBF21-956A-47F5-81A7-81DCCD4C34E7}" dt="2022-05-11T13:07:08.525" v="1922" actId="478"/>
          <ac:spMkLst>
            <pc:docMk/>
            <pc:sldMk cId="4102784048" sldId="657"/>
            <ac:spMk id="25" creationId="{80A4E897-40BF-400B-9419-3FC0866D318B}"/>
          </ac:spMkLst>
        </pc:spChg>
        <pc:spChg chg="add mod">
          <ac:chgData name="Omkar Sonar" userId="d9d77359-733b-4e14-9c8a-6c2c230cf1c2" providerId="ADAL" clId="{898EBF21-956A-47F5-81A7-81DCCD4C34E7}" dt="2022-05-12T11:42:46.667" v="2933" actId="13822"/>
          <ac:spMkLst>
            <pc:docMk/>
            <pc:sldMk cId="4102784048" sldId="657"/>
            <ac:spMk id="33" creationId="{3AE7AA2C-1449-449E-AEBC-02F0FBD494B9}"/>
          </ac:spMkLst>
        </pc:spChg>
        <pc:spChg chg="add mod">
          <ac:chgData name="Omkar Sonar" userId="d9d77359-733b-4e14-9c8a-6c2c230cf1c2" providerId="ADAL" clId="{898EBF21-956A-47F5-81A7-81DCCD4C34E7}" dt="2022-05-11T13:07:26.817" v="1926" actId="20577"/>
          <ac:spMkLst>
            <pc:docMk/>
            <pc:sldMk cId="4102784048" sldId="657"/>
            <ac:spMk id="35" creationId="{7F0EF3AC-38C7-4FD1-8E4E-535F29558222}"/>
          </ac:spMkLst>
        </pc:spChg>
        <pc:cxnChg chg="mod">
          <ac:chgData name="Omkar Sonar" userId="d9d77359-733b-4e14-9c8a-6c2c230cf1c2" providerId="ADAL" clId="{898EBF21-956A-47F5-81A7-81DCCD4C34E7}" dt="2022-05-12T11:42:46.667" v="2933" actId="13822"/>
          <ac:cxnSpMkLst>
            <pc:docMk/>
            <pc:sldMk cId="4102784048" sldId="657"/>
            <ac:cxnSpMk id="28" creationId="{7D75EC0F-6739-4188-A9AD-DFCB566CA820}"/>
          </ac:cxnSpMkLst>
        </pc:cxnChg>
        <pc:cxnChg chg="add mod">
          <ac:chgData name="Omkar Sonar" userId="d9d77359-733b-4e14-9c8a-6c2c230cf1c2" providerId="ADAL" clId="{898EBF21-956A-47F5-81A7-81DCCD4C34E7}" dt="2022-05-12T11:42:46.667" v="2933" actId="13822"/>
          <ac:cxnSpMkLst>
            <pc:docMk/>
            <pc:sldMk cId="4102784048" sldId="657"/>
            <ac:cxnSpMk id="29" creationId="{C03739BC-92B6-46BD-919A-B20EA6D22F1D}"/>
          </ac:cxnSpMkLst>
        </pc:cxnChg>
        <pc:cxnChg chg="mod">
          <ac:chgData name="Omkar Sonar" userId="d9d77359-733b-4e14-9c8a-6c2c230cf1c2" providerId="ADAL" clId="{898EBF21-956A-47F5-81A7-81DCCD4C34E7}" dt="2022-05-12T11:42:46.667" v="2933" actId="13822"/>
          <ac:cxnSpMkLst>
            <pc:docMk/>
            <pc:sldMk cId="4102784048" sldId="657"/>
            <ac:cxnSpMk id="30" creationId="{87CCFEB7-3AD2-4370-9883-745CB7B27DA3}"/>
          </ac:cxnSpMkLst>
        </pc:cxnChg>
        <pc:cxnChg chg="mod">
          <ac:chgData name="Omkar Sonar" userId="d9d77359-733b-4e14-9c8a-6c2c230cf1c2" providerId="ADAL" clId="{898EBF21-956A-47F5-81A7-81DCCD4C34E7}" dt="2022-05-12T11:42:46.667" v="2933" actId="13822"/>
          <ac:cxnSpMkLst>
            <pc:docMk/>
            <pc:sldMk cId="4102784048" sldId="657"/>
            <ac:cxnSpMk id="32" creationId="{863F5A8F-F8BB-4909-AB58-852D98DB67CF}"/>
          </ac:cxnSpMkLst>
        </pc:cxnChg>
        <pc:cxnChg chg="mod">
          <ac:chgData name="Omkar Sonar" userId="d9d77359-733b-4e14-9c8a-6c2c230cf1c2" providerId="ADAL" clId="{898EBF21-956A-47F5-81A7-81DCCD4C34E7}" dt="2022-05-12T11:42:46.667" v="2933" actId="13822"/>
          <ac:cxnSpMkLst>
            <pc:docMk/>
            <pc:sldMk cId="4102784048" sldId="657"/>
            <ac:cxnSpMk id="34" creationId="{84B92B0A-7BE8-4D41-8BE3-B4DB8B8385DA}"/>
          </ac:cxnSpMkLst>
        </pc:cxnChg>
        <pc:cxnChg chg="mod">
          <ac:chgData name="Omkar Sonar" userId="d9d77359-733b-4e14-9c8a-6c2c230cf1c2" providerId="ADAL" clId="{898EBF21-956A-47F5-81A7-81DCCD4C34E7}" dt="2022-05-12T11:42:46.667" v="2933" actId="13822"/>
          <ac:cxnSpMkLst>
            <pc:docMk/>
            <pc:sldMk cId="4102784048" sldId="657"/>
            <ac:cxnSpMk id="39" creationId="{A3E066FF-BB01-4EEF-8DA6-79341E30385E}"/>
          </ac:cxnSpMkLst>
        </pc:cxnChg>
        <pc:cxnChg chg="del mod">
          <ac:chgData name="Omkar Sonar" userId="d9d77359-733b-4e14-9c8a-6c2c230cf1c2" providerId="ADAL" clId="{898EBF21-956A-47F5-81A7-81DCCD4C34E7}" dt="2022-05-11T13:07:02.384" v="1920" actId="478"/>
          <ac:cxnSpMkLst>
            <pc:docMk/>
            <pc:sldMk cId="4102784048" sldId="657"/>
            <ac:cxnSpMk id="41" creationId="{E1C18EB0-2363-4FBA-84AD-AA384C378D10}"/>
          </ac:cxnSpMkLst>
        </pc:cxnChg>
      </pc:sldChg>
      <pc:sldChg chg="modSp new mod">
        <pc:chgData name="Omkar Sonar" userId="d9d77359-733b-4e14-9c8a-6c2c230cf1c2" providerId="ADAL" clId="{898EBF21-956A-47F5-81A7-81DCCD4C34E7}" dt="2022-05-11T13:16:41.901" v="2489" actId="20577"/>
        <pc:sldMkLst>
          <pc:docMk/>
          <pc:sldMk cId="3458168072" sldId="658"/>
        </pc:sldMkLst>
        <pc:spChg chg="mod">
          <ac:chgData name="Omkar Sonar" userId="d9d77359-733b-4e14-9c8a-6c2c230cf1c2" providerId="ADAL" clId="{898EBF21-956A-47F5-81A7-81DCCD4C34E7}" dt="2022-05-11T13:16:41.901" v="2489" actId="20577"/>
          <ac:spMkLst>
            <pc:docMk/>
            <pc:sldMk cId="3458168072" sldId="658"/>
            <ac:spMk id="2" creationId="{9A8BD68A-09E0-4493-AC31-20EC3A3AB966}"/>
          </ac:spMkLst>
        </pc:spChg>
      </pc:sldChg>
      <pc:sldChg chg="modSp add mod">
        <pc:chgData name="Omkar Sonar" userId="d9d77359-733b-4e14-9c8a-6c2c230cf1c2" providerId="ADAL" clId="{898EBF21-956A-47F5-81A7-81DCCD4C34E7}" dt="2022-05-12T11:56:55.190" v="4007" actId="1076"/>
        <pc:sldMkLst>
          <pc:docMk/>
          <pc:sldMk cId="1384904472" sldId="659"/>
        </pc:sldMkLst>
        <pc:spChg chg="mod">
          <ac:chgData name="Omkar Sonar" userId="d9d77359-733b-4e14-9c8a-6c2c230cf1c2" providerId="ADAL" clId="{898EBF21-956A-47F5-81A7-81DCCD4C34E7}" dt="2022-05-11T13:19:07.721" v="2503" actId="20577"/>
          <ac:spMkLst>
            <pc:docMk/>
            <pc:sldMk cId="1384904472" sldId="659"/>
            <ac:spMk id="5" creationId="{C6865424-9B5A-4E90-89E5-D58B98467A11}"/>
          </ac:spMkLst>
        </pc:spChg>
        <pc:spChg chg="mod">
          <ac:chgData name="Omkar Sonar" userId="d9d77359-733b-4e14-9c8a-6c2c230cf1c2" providerId="ADAL" clId="{898EBF21-956A-47F5-81A7-81DCCD4C34E7}" dt="2022-05-12T11:47:12.030" v="3302" actId="1076"/>
          <ac:spMkLst>
            <pc:docMk/>
            <pc:sldMk cId="1384904472" sldId="659"/>
            <ac:spMk id="8" creationId="{D5F14871-C013-402F-A1AF-F075DEDC6E3C}"/>
          </ac:spMkLst>
        </pc:spChg>
        <pc:spChg chg="mod">
          <ac:chgData name="Omkar Sonar" userId="d9d77359-733b-4e14-9c8a-6c2c230cf1c2" providerId="ADAL" clId="{898EBF21-956A-47F5-81A7-81DCCD4C34E7}" dt="2022-05-12T11:44:47.112" v="3075" actId="1076"/>
          <ac:spMkLst>
            <pc:docMk/>
            <pc:sldMk cId="1384904472" sldId="659"/>
            <ac:spMk id="13" creationId="{D6A077CA-87D8-4D7B-99F0-660EAD217603}"/>
          </ac:spMkLst>
        </pc:spChg>
        <pc:spChg chg="mod">
          <ac:chgData name="Omkar Sonar" userId="d9d77359-733b-4e14-9c8a-6c2c230cf1c2" providerId="ADAL" clId="{898EBF21-956A-47F5-81A7-81DCCD4C34E7}" dt="2022-05-12T11:44:41.445" v="3074" actId="1076"/>
          <ac:spMkLst>
            <pc:docMk/>
            <pc:sldMk cId="1384904472" sldId="659"/>
            <ac:spMk id="14" creationId="{411F09BB-B0E0-4501-A1AA-CDBA7855F90E}"/>
          </ac:spMkLst>
        </pc:spChg>
        <pc:spChg chg="mod">
          <ac:chgData name="Omkar Sonar" userId="d9d77359-733b-4e14-9c8a-6c2c230cf1c2" providerId="ADAL" clId="{898EBF21-956A-47F5-81A7-81DCCD4C34E7}" dt="2022-05-12T11:44:37.745" v="3073" actId="313"/>
          <ac:spMkLst>
            <pc:docMk/>
            <pc:sldMk cId="1384904472" sldId="659"/>
            <ac:spMk id="15" creationId="{BB18A643-5648-434B-9D2B-9E62F7FC4D2E}"/>
          </ac:spMkLst>
        </pc:spChg>
        <pc:spChg chg="mod">
          <ac:chgData name="Omkar Sonar" userId="d9d77359-733b-4e14-9c8a-6c2c230cf1c2" providerId="ADAL" clId="{898EBF21-956A-47F5-81A7-81DCCD4C34E7}" dt="2022-05-12T11:40:33.986" v="2774" actId="14100"/>
          <ac:spMkLst>
            <pc:docMk/>
            <pc:sldMk cId="1384904472" sldId="659"/>
            <ac:spMk id="16" creationId="{566A84E3-63A9-4BC6-9EDB-5FF1D10300E3}"/>
          </ac:spMkLst>
        </pc:spChg>
        <pc:spChg chg="mod">
          <ac:chgData name="Omkar Sonar" userId="d9d77359-733b-4e14-9c8a-6c2c230cf1c2" providerId="ADAL" clId="{898EBF21-956A-47F5-81A7-81DCCD4C34E7}" dt="2022-05-12T11:41:58.158" v="2930" actId="1076"/>
          <ac:spMkLst>
            <pc:docMk/>
            <pc:sldMk cId="1384904472" sldId="659"/>
            <ac:spMk id="17" creationId="{60D2752C-6D93-4724-B762-EAF0087AFE63}"/>
          </ac:spMkLst>
        </pc:spChg>
        <pc:spChg chg="mod">
          <ac:chgData name="Omkar Sonar" userId="d9d77359-733b-4e14-9c8a-6c2c230cf1c2" providerId="ADAL" clId="{898EBF21-956A-47F5-81A7-81DCCD4C34E7}" dt="2022-05-12T11:46:25.797" v="3293" actId="33524"/>
          <ac:spMkLst>
            <pc:docMk/>
            <pc:sldMk cId="1384904472" sldId="659"/>
            <ac:spMk id="18" creationId="{8F3C55B4-DBAF-402C-AA4C-7B9516B3B77D}"/>
          </ac:spMkLst>
        </pc:spChg>
        <pc:spChg chg="mod">
          <ac:chgData name="Omkar Sonar" userId="d9d77359-733b-4e14-9c8a-6c2c230cf1c2" providerId="ADAL" clId="{898EBF21-956A-47F5-81A7-81DCCD4C34E7}" dt="2022-05-12T11:56:55.190" v="4007" actId="1076"/>
          <ac:spMkLst>
            <pc:docMk/>
            <pc:sldMk cId="1384904472" sldId="659"/>
            <ac:spMk id="19" creationId="{5EBC1CDC-DAF5-4A18-8C7B-1CFC330A0C29}"/>
          </ac:spMkLst>
        </pc:spChg>
        <pc:spChg chg="mod">
          <ac:chgData name="Omkar Sonar" userId="d9d77359-733b-4e14-9c8a-6c2c230cf1c2" providerId="ADAL" clId="{898EBF21-956A-47F5-81A7-81DCCD4C34E7}" dt="2022-05-12T11:52:58.473" v="3548" actId="313"/>
          <ac:spMkLst>
            <pc:docMk/>
            <pc:sldMk cId="1384904472" sldId="659"/>
            <ac:spMk id="20" creationId="{03F79DE5-7230-4D85-926F-502FBBAD60A8}"/>
          </ac:spMkLst>
        </pc:spChg>
        <pc:spChg chg="mod">
          <ac:chgData name="Omkar Sonar" userId="d9d77359-733b-4e14-9c8a-6c2c230cf1c2" providerId="ADAL" clId="{898EBF21-956A-47F5-81A7-81DCCD4C34E7}" dt="2022-05-12T11:56:51.682" v="4006" actId="1076"/>
          <ac:spMkLst>
            <pc:docMk/>
            <pc:sldMk cId="1384904472" sldId="659"/>
            <ac:spMk id="21" creationId="{BE1DF3A5-B035-42F2-8AB7-2250D3E12E66}"/>
          </ac:spMkLst>
        </pc:spChg>
        <pc:spChg chg="mod">
          <ac:chgData name="Omkar Sonar" userId="d9d77359-733b-4e14-9c8a-6c2c230cf1c2" providerId="ADAL" clId="{898EBF21-956A-47F5-81A7-81DCCD4C34E7}" dt="2022-05-12T11:56:38.397" v="4003" actId="1076"/>
          <ac:spMkLst>
            <pc:docMk/>
            <pc:sldMk cId="1384904472" sldId="659"/>
            <ac:spMk id="22" creationId="{AD11FDE0-8452-4354-8AB7-FAE4FEDC9E03}"/>
          </ac:spMkLst>
        </pc:spChg>
        <pc:spChg chg="mod">
          <ac:chgData name="Omkar Sonar" userId="d9d77359-733b-4e14-9c8a-6c2c230cf1c2" providerId="ADAL" clId="{898EBF21-956A-47F5-81A7-81DCCD4C34E7}" dt="2022-05-12T11:53:30.260" v="3595" actId="20577"/>
          <ac:spMkLst>
            <pc:docMk/>
            <pc:sldMk cId="1384904472" sldId="659"/>
            <ac:spMk id="23" creationId="{4139C95D-9DDA-4465-A624-3EA58E3CCDB1}"/>
          </ac:spMkLst>
        </pc:spChg>
        <pc:spChg chg="mod">
          <ac:chgData name="Omkar Sonar" userId="d9d77359-733b-4e14-9c8a-6c2c230cf1c2" providerId="ADAL" clId="{898EBF21-956A-47F5-81A7-81DCCD4C34E7}" dt="2022-05-12T11:56:43.232" v="4004" actId="1076"/>
          <ac:spMkLst>
            <pc:docMk/>
            <pc:sldMk cId="1384904472" sldId="659"/>
            <ac:spMk id="33" creationId="{3AE7AA2C-1449-449E-AEBC-02F0FBD494B9}"/>
          </ac:spMkLst>
        </pc:spChg>
        <pc:spChg chg="mod">
          <ac:chgData name="Omkar Sonar" userId="d9d77359-733b-4e14-9c8a-6c2c230cf1c2" providerId="ADAL" clId="{898EBF21-956A-47F5-81A7-81DCCD4C34E7}" dt="2022-05-12T11:56:48.873" v="4005" actId="1076"/>
          <ac:spMkLst>
            <pc:docMk/>
            <pc:sldMk cId="1384904472" sldId="659"/>
            <ac:spMk id="35" creationId="{7F0EF3AC-38C7-4FD1-8E4E-535F29558222}"/>
          </ac:spMkLst>
        </pc:spChg>
        <pc:cxnChg chg="mod">
          <ac:chgData name="Omkar Sonar" userId="d9d77359-733b-4e14-9c8a-6c2c230cf1c2" providerId="ADAL" clId="{898EBF21-956A-47F5-81A7-81DCCD4C34E7}" dt="2022-05-12T11:44:47.112" v="3075" actId="1076"/>
          <ac:cxnSpMkLst>
            <pc:docMk/>
            <pc:sldMk cId="1384904472" sldId="659"/>
            <ac:cxnSpMk id="28" creationId="{7D75EC0F-6739-4188-A9AD-DFCB566CA820}"/>
          </ac:cxnSpMkLst>
        </pc:cxnChg>
        <pc:cxnChg chg="mod">
          <ac:chgData name="Omkar Sonar" userId="d9d77359-733b-4e14-9c8a-6c2c230cf1c2" providerId="ADAL" clId="{898EBF21-956A-47F5-81A7-81DCCD4C34E7}" dt="2022-05-12T11:56:43.232" v="4004" actId="1076"/>
          <ac:cxnSpMkLst>
            <pc:docMk/>
            <pc:sldMk cId="1384904472" sldId="659"/>
            <ac:cxnSpMk id="29" creationId="{C03739BC-92B6-46BD-919A-B20EA6D22F1D}"/>
          </ac:cxnSpMkLst>
        </pc:cxnChg>
        <pc:cxnChg chg="mod">
          <ac:chgData name="Omkar Sonar" userId="d9d77359-733b-4e14-9c8a-6c2c230cf1c2" providerId="ADAL" clId="{898EBF21-956A-47F5-81A7-81DCCD4C34E7}" dt="2022-05-12T11:44:41.445" v="3074" actId="1076"/>
          <ac:cxnSpMkLst>
            <pc:docMk/>
            <pc:sldMk cId="1384904472" sldId="659"/>
            <ac:cxnSpMk id="30" creationId="{87CCFEB7-3AD2-4370-9883-745CB7B27DA3}"/>
          </ac:cxnSpMkLst>
        </pc:cxnChg>
        <pc:cxnChg chg="mod">
          <ac:chgData name="Omkar Sonar" userId="d9d77359-733b-4e14-9c8a-6c2c230cf1c2" providerId="ADAL" clId="{898EBF21-956A-47F5-81A7-81DCCD4C34E7}" dt="2022-05-12T11:46:13.285" v="3291" actId="14100"/>
          <ac:cxnSpMkLst>
            <pc:docMk/>
            <pc:sldMk cId="1384904472" sldId="659"/>
            <ac:cxnSpMk id="32" creationId="{863F5A8F-F8BB-4909-AB58-852D98DB67CF}"/>
          </ac:cxnSpMkLst>
        </pc:cxnChg>
        <pc:cxnChg chg="mod">
          <ac:chgData name="Omkar Sonar" userId="d9d77359-733b-4e14-9c8a-6c2c230cf1c2" providerId="ADAL" clId="{898EBF21-956A-47F5-81A7-81DCCD4C34E7}" dt="2022-05-12T11:48:57.378" v="3545" actId="14100"/>
          <ac:cxnSpMkLst>
            <pc:docMk/>
            <pc:sldMk cId="1384904472" sldId="659"/>
            <ac:cxnSpMk id="34" creationId="{84B92B0A-7BE8-4D41-8BE3-B4DB8B8385DA}"/>
          </ac:cxnSpMkLst>
        </pc:cxnChg>
        <pc:cxnChg chg="mod">
          <ac:chgData name="Omkar Sonar" userId="d9d77359-733b-4e14-9c8a-6c2c230cf1c2" providerId="ADAL" clId="{898EBF21-956A-47F5-81A7-81DCCD4C34E7}" dt="2022-05-12T11:56:38.397" v="4003" actId="1076"/>
          <ac:cxnSpMkLst>
            <pc:docMk/>
            <pc:sldMk cId="1384904472" sldId="659"/>
            <ac:cxnSpMk id="39" creationId="{A3E066FF-BB01-4EEF-8DA6-79341E30385E}"/>
          </ac:cxnSpMkLst>
        </pc:cxnChg>
      </pc:sldChg>
      <pc:sldChg chg="modSp new mod">
        <pc:chgData name="Omkar Sonar" userId="d9d77359-733b-4e14-9c8a-6c2c230cf1c2" providerId="ADAL" clId="{898EBF21-956A-47F5-81A7-81DCCD4C34E7}" dt="2022-05-12T12:31:18.607" v="5024" actId="313"/>
        <pc:sldMkLst>
          <pc:docMk/>
          <pc:sldMk cId="2782537251" sldId="660"/>
        </pc:sldMkLst>
        <pc:spChg chg="mod">
          <ac:chgData name="Omkar Sonar" userId="d9d77359-733b-4e14-9c8a-6c2c230cf1c2" providerId="ADAL" clId="{898EBF21-956A-47F5-81A7-81DCCD4C34E7}" dt="2022-05-12T12:31:18.607" v="5024" actId="313"/>
          <ac:spMkLst>
            <pc:docMk/>
            <pc:sldMk cId="2782537251" sldId="660"/>
            <ac:spMk id="2" creationId="{90BCAAA2-5C8A-4B49-A9BC-11C14ED4C2EE}"/>
          </ac:spMkLst>
        </pc:spChg>
        <pc:spChg chg="mod">
          <ac:chgData name="Omkar Sonar" userId="d9d77359-733b-4e14-9c8a-6c2c230cf1c2" providerId="ADAL" clId="{898EBF21-956A-47F5-81A7-81DCCD4C34E7}" dt="2022-05-12T11:37:36.839" v="2532" actId="20577"/>
          <ac:spMkLst>
            <pc:docMk/>
            <pc:sldMk cId="2782537251" sldId="660"/>
            <ac:spMk id="4" creationId="{AB6578B9-2A51-4F34-9648-EE986A28FAC5}"/>
          </ac:spMkLst>
        </pc:spChg>
      </pc:sldChg>
      <pc:sldChg chg="modSp add mod">
        <pc:chgData name="Omkar Sonar" userId="d9d77359-733b-4e14-9c8a-6c2c230cf1c2" providerId="ADAL" clId="{898EBF21-956A-47F5-81A7-81DCCD4C34E7}" dt="2022-05-12T12:35:54.701" v="5218" actId="20577"/>
        <pc:sldMkLst>
          <pc:docMk/>
          <pc:sldMk cId="3750603942" sldId="661"/>
        </pc:sldMkLst>
        <pc:spChg chg="mod">
          <ac:chgData name="Omkar Sonar" userId="d9d77359-733b-4e14-9c8a-6c2c230cf1c2" providerId="ADAL" clId="{898EBF21-956A-47F5-81A7-81DCCD4C34E7}" dt="2022-05-12T12:35:54.701" v="5218" actId="20577"/>
          <ac:spMkLst>
            <pc:docMk/>
            <pc:sldMk cId="3750603942" sldId="661"/>
            <ac:spMk id="2" creationId="{90BCAAA2-5C8A-4B49-A9BC-11C14ED4C2EE}"/>
          </ac:spMkLst>
        </pc:spChg>
        <pc:spChg chg="mod">
          <ac:chgData name="Omkar Sonar" userId="d9d77359-733b-4e14-9c8a-6c2c230cf1c2" providerId="ADAL" clId="{898EBF21-956A-47F5-81A7-81DCCD4C34E7}" dt="2022-05-12T12:18:08.338" v="4061" actId="20577"/>
          <ac:spMkLst>
            <pc:docMk/>
            <pc:sldMk cId="3750603942" sldId="661"/>
            <ac:spMk id="4" creationId="{AB6578B9-2A51-4F34-9648-EE986A28FAC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C4BF35-C705-4EAE-B6A3-44750B0609FB}" type="doc">
      <dgm:prSet loTypeId="urn:microsoft.com/office/officeart/2008/layout/HalfCircleOrganizationChart" loCatId="hierarchy" qsTypeId="urn:microsoft.com/office/officeart/2005/8/quickstyle/simple1" qsCatId="simple" csTypeId="urn:microsoft.com/office/officeart/2005/8/colors/accent1_2" csCatId="accent1" phldr="1"/>
      <dgm:spPr/>
      <dgm:t>
        <a:bodyPr/>
        <a:lstStyle/>
        <a:p>
          <a:endParaRPr lang="en-US"/>
        </a:p>
      </dgm:t>
    </dgm:pt>
    <dgm:pt modelId="{FDE5D752-6C3F-4B2B-BB93-2751943ACC5E}">
      <dgm:prSet phldrT="[Text]" custT="1"/>
      <dgm:spPr/>
      <dgm:t>
        <a:bodyPr/>
        <a:lstStyle/>
        <a:p>
          <a:r>
            <a:rPr lang="en-US" sz="1400" b="1" dirty="0">
              <a:latin typeface="Cambria" panose="02040503050406030204" pitchFamily="18" charset="0"/>
              <a:ea typeface="Cambria" panose="02040503050406030204" pitchFamily="18" charset="0"/>
            </a:rPr>
            <a:t>Setup</a:t>
          </a:r>
        </a:p>
      </dgm:t>
    </dgm:pt>
    <dgm:pt modelId="{5D7141C3-23E6-4B90-8C05-1648F87FB211}" type="parTrans" cxnId="{A9D0C5AB-1051-42A6-A2BB-EABD58D756DE}">
      <dgm:prSet/>
      <dgm:spPr/>
      <dgm:t>
        <a:bodyPr/>
        <a:lstStyle/>
        <a:p>
          <a:endParaRPr lang="en-US" sz="1400" b="1">
            <a:latin typeface="Cambria" panose="02040503050406030204" pitchFamily="18" charset="0"/>
            <a:ea typeface="Cambria" panose="02040503050406030204" pitchFamily="18" charset="0"/>
          </a:endParaRPr>
        </a:p>
      </dgm:t>
    </dgm:pt>
    <dgm:pt modelId="{D086DD93-FCC6-40ED-8EAD-34CD9AEF7B21}" type="sibTrans" cxnId="{A9D0C5AB-1051-42A6-A2BB-EABD58D756DE}">
      <dgm:prSet/>
      <dgm:spPr/>
      <dgm:t>
        <a:bodyPr/>
        <a:lstStyle/>
        <a:p>
          <a:endParaRPr lang="en-US" sz="1400" b="1">
            <a:latin typeface="Cambria" panose="02040503050406030204" pitchFamily="18" charset="0"/>
            <a:ea typeface="Cambria" panose="02040503050406030204" pitchFamily="18" charset="0"/>
          </a:endParaRPr>
        </a:p>
      </dgm:t>
    </dgm:pt>
    <dgm:pt modelId="{E91683E6-1100-45A2-96BF-EAEDD3C2EBC5}">
      <dgm:prSet phldrT="[Text]" custT="1"/>
      <dgm:spPr/>
      <dgm:t>
        <a:bodyPr/>
        <a:lstStyle/>
        <a:p>
          <a:r>
            <a:rPr lang="en-US" sz="1400" b="1" dirty="0">
              <a:latin typeface="Cambria" panose="02040503050406030204" pitchFamily="18" charset="0"/>
              <a:ea typeface="Cambria" panose="02040503050406030204" pitchFamily="18" charset="0"/>
            </a:rPr>
            <a:t>Jira Config</a:t>
          </a:r>
        </a:p>
      </dgm:t>
    </dgm:pt>
    <dgm:pt modelId="{F7033616-3623-4301-B29B-DAF56FC91F3D}" type="parTrans" cxnId="{C8471952-538E-40D2-B443-8CB4FAEC8BA0}">
      <dgm:prSet/>
      <dgm:spPr/>
      <dgm:t>
        <a:bodyPr/>
        <a:lstStyle/>
        <a:p>
          <a:endParaRPr lang="en-US" sz="1400" b="1">
            <a:latin typeface="Cambria" panose="02040503050406030204" pitchFamily="18" charset="0"/>
            <a:ea typeface="Cambria" panose="02040503050406030204" pitchFamily="18" charset="0"/>
          </a:endParaRPr>
        </a:p>
      </dgm:t>
    </dgm:pt>
    <dgm:pt modelId="{9579AF3E-4F36-4CD7-AC9C-5AA6C50F250E}" type="sibTrans" cxnId="{C8471952-538E-40D2-B443-8CB4FAEC8BA0}">
      <dgm:prSet/>
      <dgm:spPr/>
      <dgm:t>
        <a:bodyPr/>
        <a:lstStyle/>
        <a:p>
          <a:endParaRPr lang="en-US" sz="1400" b="1">
            <a:latin typeface="Cambria" panose="02040503050406030204" pitchFamily="18" charset="0"/>
            <a:ea typeface="Cambria" panose="02040503050406030204" pitchFamily="18" charset="0"/>
          </a:endParaRPr>
        </a:p>
      </dgm:t>
    </dgm:pt>
    <dgm:pt modelId="{6F339BF9-13E2-427B-BFF6-447502718B4C}">
      <dgm:prSet phldrT="[Text]" custT="1"/>
      <dgm:spPr/>
      <dgm:t>
        <a:bodyPr/>
        <a:lstStyle/>
        <a:p>
          <a:r>
            <a:rPr lang="en-US" sz="1400" b="1" dirty="0">
              <a:latin typeface="Cambria" panose="02040503050406030204" pitchFamily="18" charset="0"/>
              <a:ea typeface="Cambria" panose="02040503050406030204" pitchFamily="18" charset="0"/>
            </a:rPr>
            <a:t>ADR</a:t>
          </a:r>
        </a:p>
      </dgm:t>
    </dgm:pt>
    <dgm:pt modelId="{08777613-5D72-4737-9006-F690BD1761FE}" type="parTrans" cxnId="{BF7C9B7D-F143-4ACF-A7D0-246449162685}">
      <dgm:prSet/>
      <dgm:spPr/>
      <dgm:t>
        <a:bodyPr/>
        <a:lstStyle/>
        <a:p>
          <a:endParaRPr lang="en-US" sz="1400" b="1">
            <a:latin typeface="Cambria" panose="02040503050406030204" pitchFamily="18" charset="0"/>
            <a:ea typeface="Cambria" panose="02040503050406030204" pitchFamily="18" charset="0"/>
          </a:endParaRPr>
        </a:p>
      </dgm:t>
    </dgm:pt>
    <dgm:pt modelId="{9B12CFC1-ED51-4B7C-8DF5-D3D774DFF9F8}" type="sibTrans" cxnId="{BF7C9B7D-F143-4ACF-A7D0-246449162685}">
      <dgm:prSet/>
      <dgm:spPr/>
      <dgm:t>
        <a:bodyPr/>
        <a:lstStyle/>
        <a:p>
          <a:endParaRPr lang="en-US" sz="1400" b="1">
            <a:latin typeface="Cambria" panose="02040503050406030204" pitchFamily="18" charset="0"/>
            <a:ea typeface="Cambria" panose="02040503050406030204" pitchFamily="18" charset="0"/>
          </a:endParaRPr>
        </a:p>
      </dgm:t>
    </dgm:pt>
    <dgm:pt modelId="{16AC7908-9FD2-4C89-85EA-95812F57B8EF}">
      <dgm:prSet phldrT="[Text]" custT="1"/>
      <dgm:spPr/>
      <dgm:t>
        <a:bodyPr/>
        <a:lstStyle/>
        <a:p>
          <a:r>
            <a:rPr lang="en-US" sz="1400" b="1" dirty="0">
              <a:latin typeface="Cambria" panose="02040503050406030204" pitchFamily="18" charset="0"/>
              <a:ea typeface="Cambria" panose="02040503050406030204" pitchFamily="18" charset="0"/>
            </a:rPr>
            <a:t>Central Config</a:t>
          </a:r>
        </a:p>
      </dgm:t>
    </dgm:pt>
    <dgm:pt modelId="{E16B97A3-C035-42C8-8A5E-7236583C6959}" type="parTrans" cxnId="{EAFABEA1-4F7D-4866-9FAD-326BD9DBBDE1}">
      <dgm:prSet/>
      <dgm:spPr/>
      <dgm:t>
        <a:bodyPr/>
        <a:lstStyle/>
        <a:p>
          <a:endParaRPr lang="en-US" b="1"/>
        </a:p>
      </dgm:t>
    </dgm:pt>
    <dgm:pt modelId="{CF1AD92D-361F-4CC3-B51C-CAC5D6954259}" type="sibTrans" cxnId="{EAFABEA1-4F7D-4866-9FAD-326BD9DBBDE1}">
      <dgm:prSet/>
      <dgm:spPr/>
      <dgm:t>
        <a:bodyPr/>
        <a:lstStyle/>
        <a:p>
          <a:endParaRPr lang="en-US" b="1"/>
        </a:p>
      </dgm:t>
    </dgm:pt>
    <dgm:pt modelId="{C666B119-53A3-4BB4-AC51-174745B9381A}">
      <dgm:prSet phldrT="[Text]" custT="1"/>
      <dgm:spPr/>
      <dgm:t>
        <a:bodyPr/>
        <a:lstStyle/>
        <a:p>
          <a:r>
            <a:rPr lang="en-US" sz="1400" b="1" dirty="0">
              <a:latin typeface="Cambria" panose="02040503050406030204" pitchFamily="18" charset="0"/>
              <a:ea typeface="Cambria" panose="02040503050406030204" pitchFamily="18" charset="0"/>
            </a:rPr>
            <a:t>Data Bank Location</a:t>
          </a:r>
        </a:p>
      </dgm:t>
    </dgm:pt>
    <dgm:pt modelId="{F04613AA-FC1F-4109-B0A9-518CFFD826A2}" type="parTrans" cxnId="{8012CFB7-B942-4AEF-B341-349DEDFF091D}">
      <dgm:prSet/>
      <dgm:spPr/>
      <dgm:t>
        <a:bodyPr/>
        <a:lstStyle/>
        <a:p>
          <a:endParaRPr lang="en-US" b="1"/>
        </a:p>
      </dgm:t>
    </dgm:pt>
    <dgm:pt modelId="{F3DD366E-BF41-4873-8B15-A092C3481BEF}" type="sibTrans" cxnId="{8012CFB7-B942-4AEF-B341-349DEDFF091D}">
      <dgm:prSet/>
      <dgm:spPr/>
      <dgm:t>
        <a:bodyPr/>
        <a:lstStyle/>
        <a:p>
          <a:endParaRPr lang="en-US" b="1"/>
        </a:p>
      </dgm:t>
    </dgm:pt>
    <dgm:pt modelId="{A1C9551A-F7DB-4780-ADF4-2DB46115A009}">
      <dgm:prSet phldrT="[Text]" custT="1"/>
      <dgm:spPr/>
      <dgm:t>
        <a:bodyPr/>
        <a:lstStyle/>
        <a:p>
          <a:r>
            <a:rPr lang="en-US" sz="1400" b="1" dirty="0">
              <a:latin typeface="Cambria" panose="02040503050406030204" pitchFamily="18" charset="0"/>
              <a:ea typeface="Cambria" panose="02040503050406030204" pitchFamily="18" charset="0"/>
            </a:rPr>
            <a:t>MongoDB</a:t>
          </a:r>
        </a:p>
      </dgm:t>
    </dgm:pt>
    <dgm:pt modelId="{7347007C-0168-4573-8906-24D005DFADC2}" type="parTrans" cxnId="{98462FAB-9733-47DB-A671-54AAB65FD108}">
      <dgm:prSet/>
      <dgm:spPr/>
      <dgm:t>
        <a:bodyPr/>
        <a:lstStyle/>
        <a:p>
          <a:endParaRPr lang="en-US" b="1"/>
        </a:p>
      </dgm:t>
    </dgm:pt>
    <dgm:pt modelId="{1AD92EFC-D129-48E2-867B-CDFF7145BEE4}" type="sibTrans" cxnId="{98462FAB-9733-47DB-A671-54AAB65FD108}">
      <dgm:prSet/>
      <dgm:spPr/>
      <dgm:t>
        <a:bodyPr/>
        <a:lstStyle/>
        <a:p>
          <a:endParaRPr lang="en-US" b="1"/>
        </a:p>
      </dgm:t>
    </dgm:pt>
    <dgm:pt modelId="{E409BE5E-2BD0-46E8-8A8D-7B825FD42382}">
      <dgm:prSet phldrT="[Text]" custT="1"/>
      <dgm:spPr/>
      <dgm:t>
        <a:bodyPr/>
        <a:lstStyle/>
        <a:p>
          <a:r>
            <a:rPr lang="en-US" sz="1400" b="1" dirty="0">
              <a:latin typeface="Cambria" panose="02040503050406030204" pitchFamily="18" charset="0"/>
              <a:ea typeface="Cambria" panose="02040503050406030204" pitchFamily="18" charset="0"/>
            </a:rPr>
            <a:t>Inventory</a:t>
          </a:r>
        </a:p>
      </dgm:t>
    </dgm:pt>
    <dgm:pt modelId="{BF97F6B4-5F3D-473A-B1C3-26E4145D801C}" type="parTrans" cxnId="{89A7F839-89E0-4A86-B3AF-7D39C805A86E}">
      <dgm:prSet/>
      <dgm:spPr/>
      <dgm:t>
        <a:bodyPr/>
        <a:lstStyle/>
        <a:p>
          <a:endParaRPr lang="en-US" b="1"/>
        </a:p>
      </dgm:t>
    </dgm:pt>
    <dgm:pt modelId="{BC42F632-239C-4343-981C-9AF023A8BBE0}" type="sibTrans" cxnId="{89A7F839-89E0-4A86-B3AF-7D39C805A86E}">
      <dgm:prSet/>
      <dgm:spPr/>
      <dgm:t>
        <a:bodyPr/>
        <a:lstStyle/>
        <a:p>
          <a:endParaRPr lang="en-US" b="1"/>
        </a:p>
      </dgm:t>
    </dgm:pt>
    <dgm:pt modelId="{4DF29417-8941-4E1E-8B97-A93F1730C5CD}">
      <dgm:prSet phldrT="[Text]" custT="1"/>
      <dgm:spPr/>
      <dgm:t>
        <a:bodyPr/>
        <a:lstStyle/>
        <a:p>
          <a:r>
            <a:rPr lang="en-US" sz="1400" b="1" dirty="0">
              <a:latin typeface="Cambria" panose="02040503050406030204" pitchFamily="18" charset="0"/>
              <a:ea typeface="Cambria" panose="02040503050406030204" pitchFamily="18" charset="0"/>
            </a:rPr>
            <a:t>Jira Config</a:t>
          </a:r>
        </a:p>
      </dgm:t>
    </dgm:pt>
    <dgm:pt modelId="{7CFA88CA-2E7F-428C-A6AC-2ADE5F9FD635}" type="parTrans" cxnId="{47B6F762-13EB-437C-B7A6-024FFE057E3C}">
      <dgm:prSet/>
      <dgm:spPr/>
      <dgm:t>
        <a:bodyPr/>
        <a:lstStyle/>
        <a:p>
          <a:endParaRPr lang="en-US" b="1"/>
        </a:p>
      </dgm:t>
    </dgm:pt>
    <dgm:pt modelId="{02D8E1FA-FD43-41EC-956E-D25573085B35}" type="sibTrans" cxnId="{47B6F762-13EB-437C-B7A6-024FFE057E3C}">
      <dgm:prSet/>
      <dgm:spPr/>
      <dgm:t>
        <a:bodyPr/>
        <a:lstStyle/>
        <a:p>
          <a:endParaRPr lang="en-US" b="1"/>
        </a:p>
      </dgm:t>
    </dgm:pt>
    <dgm:pt modelId="{982FE758-3BDD-45B3-9A64-D794ABAB27B9}">
      <dgm:prSet phldrT="[Text]" custT="1"/>
      <dgm:spPr/>
      <dgm:t>
        <a:bodyPr/>
        <a:lstStyle/>
        <a:p>
          <a:r>
            <a:rPr lang="en-US" sz="1400" b="1" dirty="0">
              <a:latin typeface="Cambria" panose="02040503050406030204" pitchFamily="18" charset="0"/>
              <a:ea typeface="Cambria" panose="02040503050406030204" pitchFamily="18" charset="0"/>
            </a:rPr>
            <a:t>ADE</a:t>
          </a:r>
        </a:p>
      </dgm:t>
    </dgm:pt>
    <dgm:pt modelId="{0B3F4E3D-EBBD-4C9E-9D39-041361D5F82D}" type="parTrans" cxnId="{D916284B-8711-4D33-B8CB-0A2E15D92361}">
      <dgm:prSet/>
      <dgm:spPr/>
      <dgm:t>
        <a:bodyPr/>
        <a:lstStyle/>
        <a:p>
          <a:endParaRPr lang="en-US" b="1"/>
        </a:p>
      </dgm:t>
    </dgm:pt>
    <dgm:pt modelId="{D1996E15-631E-40BA-88DE-00EBC95782A9}" type="sibTrans" cxnId="{D916284B-8711-4D33-B8CB-0A2E15D92361}">
      <dgm:prSet/>
      <dgm:spPr/>
      <dgm:t>
        <a:bodyPr/>
        <a:lstStyle/>
        <a:p>
          <a:endParaRPr lang="en-US" b="1"/>
        </a:p>
      </dgm:t>
    </dgm:pt>
    <dgm:pt modelId="{BE96ED41-EF02-4DD3-B1A4-5E24051D2361}">
      <dgm:prSet phldrT="[Text]" custT="1"/>
      <dgm:spPr/>
      <dgm:t>
        <a:bodyPr/>
        <a:lstStyle/>
        <a:p>
          <a:r>
            <a:rPr lang="en-US" sz="1400" b="1" dirty="0">
              <a:latin typeface="Cambria" panose="02040503050406030204" pitchFamily="18" charset="0"/>
              <a:ea typeface="Cambria" panose="02040503050406030204" pitchFamily="18" charset="0"/>
            </a:rPr>
            <a:t>Jira Config</a:t>
          </a:r>
        </a:p>
      </dgm:t>
    </dgm:pt>
    <dgm:pt modelId="{EB3B91E6-6C9D-4DD4-9B61-562CA3E85638}" type="parTrans" cxnId="{14635849-C731-4052-8BEE-9A59FE333C54}">
      <dgm:prSet/>
      <dgm:spPr/>
      <dgm:t>
        <a:bodyPr/>
        <a:lstStyle/>
        <a:p>
          <a:endParaRPr lang="en-US" b="1"/>
        </a:p>
      </dgm:t>
    </dgm:pt>
    <dgm:pt modelId="{26FD52BD-554D-4D1F-AFB9-31A616E66BF5}" type="sibTrans" cxnId="{14635849-C731-4052-8BEE-9A59FE333C54}">
      <dgm:prSet/>
      <dgm:spPr/>
      <dgm:t>
        <a:bodyPr/>
        <a:lstStyle/>
        <a:p>
          <a:endParaRPr lang="en-US" b="1"/>
        </a:p>
      </dgm:t>
    </dgm:pt>
    <dgm:pt modelId="{45A106C4-2EEE-4DE1-873C-26821C657900}">
      <dgm:prSet phldrT="[Text]" custT="1"/>
      <dgm:spPr/>
      <dgm:t>
        <a:bodyPr/>
        <a:lstStyle/>
        <a:p>
          <a:r>
            <a:rPr lang="en-US" sz="1400" b="1">
              <a:latin typeface="Cambria" panose="02040503050406030204" pitchFamily="18" charset="0"/>
              <a:ea typeface="Cambria" panose="02040503050406030204" pitchFamily="18" charset="0"/>
            </a:rPr>
            <a:t>MySQL</a:t>
          </a:r>
          <a:endParaRPr lang="en-US" sz="1400" b="1" dirty="0">
            <a:latin typeface="Cambria" panose="02040503050406030204" pitchFamily="18" charset="0"/>
            <a:ea typeface="Cambria" panose="02040503050406030204" pitchFamily="18" charset="0"/>
          </a:endParaRPr>
        </a:p>
      </dgm:t>
    </dgm:pt>
    <dgm:pt modelId="{3C062380-BD82-4B1D-8924-2CB1DF4F5FEA}" type="parTrans" cxnId="{9C68E8FA-956F-4825-99B0-DD959ABA31BB}">
      <dgm:prSet/>
      <dgm:spPr/>
      <dgm:t>
        <a:bodyPr/>
        <a:lstStyle/>
        <a:p>
          <a:endParaRPr lang="en-US"/>
        </a:p>
      </dgm:t>
    </dgm:pt>
    <dgm:pt modelId="{DD418F6D-2105-4FA6-B788-99728F0D3B7A}" type="sibTrans" cxnId="{9C68E8FA-956F-4825-99B0-DD959ABA31BB}">
      <dgm:prSet/>
      <dgm:spPr/>
      <dgm:t>
        <a:bodyPr/>
        <a:lstStyle/>
        <a:p>
          <a:endParaRPr lang="en-US"/>
        </a:p>
      </dgm:t>
    </dgm:pt>
    <dgm:pt modelId="{B9BAE515-94AB-48E5-9EAE-671DFBD7DC71}" type="pres">
      <dgm:prSet presAssocID="{F1C4BF35-C705-4EAE-B6A3-44750B0609FB}" presName="Name0" presStyleCnt="0">
        <dgm:presLayoutVars>
          <dgm:orgChart val="1"/>
          <dgm:chPref val="1"/>
          <dgm:dir/>
          <dgm:animOne val="branch"/>
          <dgm:animLvl val="lvl"/>
          <dgm:resizeHandles/>
        </dgm:presLayoutVars>
      </dgm:prSet>
      <dgm:spPr/>
    </dgm:pt>
    <dgm:pt modelId="{35891063-D4AB-441B-86C1-EA833626547B}" type="pres">
      <dgm:prSet presAssocID="{FDE5D752-6C3F-4B2B-BB93-2751943ACC5E}" presName="hierRoot1" presStyleCnt="0">
        <dgm:presLayoutVars>
          <dgm:hierBranch val="init"/>
        </dgm:presLayoutVars>
      </dgm:prSet>
      <dgm:spPr/>
    </dgm:pt>
    <dgm:pt modelId="{4E7F3FAE-49A5-4A3A-AC35-3A61E7E642AA}" type="pres">
      <dgm:prSet presAssocID="{FDE5D752-6C3F-4B2B-BB93-2751943ACC5E}" presName="rootComposite1" presStyleCnt="0"/>
      <dgm:spPr/>
    </dgm:pt>
    <dgm:pt modelId="{DE0C9546-C923-428E-A9D9-24866B317E14}" type="pres">
      <dgm:prSet presAssocID="{FDE5D752-6C3F-4B2B-BB93-2751943ACC5E}" presName="rootText1" presStyleLbl="alignAcc1" presStyleIdx="0" presStyleCnt="0">
        <dgm:presLayoutVars>
          <dgm:chPref val="3"/>
        </dgm:presLayoutVars>
      </dgm:prSet>
      <dgm:spPr/>
    </dgm:pt>
    <dgm:pt modelId="{834EFF2F-F0F1-4052-BC6F-8B087914CAAC}" type="pres">
      <dgm:prSet presAssocID="{FDE5D752-6C3F-4B2B-BB93-2751943ACC5E}" presName="topArc1" presStyleLbl="parChTrans1D1" presStyleIdx="0" presStyleCnt="22"/>
      <dgm:spPr/>
    </dgm:pt>
    <dgm:pt modelId="{F79FE743-DAA3-42EB-98A2-C714E1408F26}" type="pres">
      <dgm:prSet presAssocID="{FDE5D752-6C3F-4B2B-BB93-2751943ACC5E}" presName="bottomArc1" presStyleLbl="parChTrans1D1" presStyleIdx="1" presStyleCnt="22"/>
      <dgm:spPr/>
    </dgm:pt>
    <dgm:pt modelId="{7E0AB792-A456-4681-9242-6B3DC5E9CF67}" type="pres">
      <dgm:prSet presAssocID="{FDE5D752-6C3F-4B2B-BB93-2751943ACC5E}" presName="topConnNode1" presStyleLbl="node1" presStyleIdx="0" presStyleCnt="0"/>
      <dgm:spPr/>
    </dgm:pt>
    <dgm:pt modelId="{0FC70C9D-14C5-4A26-8D0D-FA425CD6F661}" type="pres">
      <dgm:prSet presAssocID="{FDE5D752-6C3F-4B2B-BB93-2751943ACC5E}" presName="hierChild2" presStyleCnt="0"/>
      <dgm:spPr/>
    </dgm:pt>
    <dgm:pt modelId="{09081699-EA89-4C5E-895C-4FDBCB517000}" type="pres">
      <dgm:prSet presAssocID="{E16B97A3-C035-42C8-8A5E-7236583C6959}" presName="Name28" presStyleLbl="parChTrans1D2" presStyleIdx="0" presStyleCnt="4"/>
      <dgm:spPr/>
    </dgm:pt>
    <dgm:pt modelId="{3213F41B-421A-4A4F-BE89-438BF0AF12B7}" type="pres">
      <dgm:prSet presAssocID="{16AC7908-9FD2-4C89-85EA-95812F57B8EF}" presName="hierRoot2" presStyleCnt="0">
        <dgm:presLayoutVars>
          <dgm:hierBranch val="init"/>
        </dgm:presLayoutVars>
      </dgm:prSet>
      <dgm:spPr/>
    </dgm:pt>
    <dgm:pt modelId="{AE93E942-E65D-4471-911A-BF52EC785A9D}" type="pres">
      <dgm:prSet presAssocID="{16AC7908-9FD2-4C89-85EA-95812F57B8EF}" presName="rootComposite2" presStyleCnt="0"/>
      <dgm:spPr/>
    </dgm:pt>
    <dgm:pt modelId="{D8B61374-346A-4610-9E60-21496AF0E06F}" type="pres">
      <dgm:prSet presAssocID="{16AC7908-9FD2-4C89-85EA-95812F57B8EF}" presName="rootText2" presStyleLbl="alignAcc1" presStyleIdx="0" presStyleCnt="0">
        <dgm:presLayoutVars>
          <dgm:chPref val="3"/>
        </dgm:presLayoutVars>
      </dgm:prSet>
      <dgm:spPr/>
    </dgm:pt>
    <dgm:pt modelId="{18426A53-18A6-4468-B7C7-C418C8149A58}" type="pres">
      <dgm:prSet presAssocID="{16AC7908-9FD2-4C89-85EA-95812F57B8EF}" presName="topArc2" presStyleLbl="parChTrans1D1" presStyleIdx="2" presStyleCnt="22"/>
      <dgm:spPr/>
    </dgm:pt>
    <dgm:pt modelId="{BE44BB37-E182-498C-A658-DE4AC2F5C978}" type="pres">
      <dgm:prSet presAssocID="{16AC7908-9FD2-4C89-85EA-95812F57B8EF}" presName="bottomArc2" presStyleLbl="parChTrans1D1" presStyleIdx="3" presStyleCnt="22"/>
      <dgm:spPr/>
    </dgm:pt>
    <dgm:pt modelId="{E1086538-C7C8-4E61-BD0B-8D5562E8A415}" type="pres">
      <dgm:prSet presAssocID="{16AC7908-9FD2-4C89-85EA-95812F57B8EF}" presName="topConnNode2" presStyleLbl="node2" presStyleIdx="0" presStyleCnt="0"/>
      <dgm:spPr/>
    </dgm:pt>
    <dgm:pt modelId="{B2184668-AB72-4216-9612-0FA6A55BA9C3}" type="pres">
      <dgm:prSet presAssocID="{16AC7908-9FD2-4C89-85EA-95812F57B8EF}" presName="hierChild4" presStyleCnt="0"/>
      <dgm:spPr/>
    </dgm:pt>
    <dgm:pt modelId="{870222C8-0F14-4A41-8058-77E7BBA2DEF1}" type="pres">
      <dgm:prSet presAssocID="{F04613AA-FC1F-4109-B0A9-518CFFD826A2}" presName="Name28" presStyleLbl="parChTrans1D3" presStyleIdx="0" presStyleCnt="6"/>
      <dgm:spPr/>
    </dgm:pt>
    <dgm:pt modelId="{1AAF63A6-55F2-489A-B8A1-AA0A8F8A5DFC}" type="pres">
      <dgm:prSet presAssocID="{C666B119-53A3-4BB4-AC51-174745B9381A}" presName="hierRoot2" presStyleCnt="0">
        <dgm:presLayoutVars>
          <dgm:hierBranch val="init"/>
        </dgm:presLayoutVars>
      </dgm:prSet>
      <dgm:spPr/>
    </dgm:pt>
    <dgm:pt modelId="{3764EF40-86A3-4427-899A-62A96DE71F0B}" type="pres">
      <dgm:prSet presAssocID="{C666B119-53A3-4BB4-AC51-174745B9381A}" presName="rootComposite2" presStyleCnt="0"/>
      <dgm:spPr/>
    </dgm:pt>
    <dgm:pt modelId="{3D2046DE-E241-4796-A0AE-40986BECF875}" type="pres">
      <dgm:prSet presAssocID="{C666B119-53A3-4BB4-AC51-174745B9381A}" presName="rootText2" presStyleLbl="alignAcc1" presStyleIdx="0" presStyleCnt="0">
        <dgm:presLayoutVars>
          <dgm:chPref val="3"/>
        </dgm:presLayoutVars>
      </dgm:prSet>
      <dgm:spPr/>
    </dgm:pt>
    <dgm:pt modelId="{F4DFFF0D-AE9D-4AED-BE2F-314588CAD31E}" type="pres">
      <dgm:prSet presAssocID="{C666B119-53A3-4BB4-AC51-174745B9381A}" presName="topArc2" presStyleLbl="parChTrans1D1" presStyleIdx="4" presStyleCnt="22"/>
      <dgm:spPr/>
    </dgm:pt>
    <dgm:pt modelId="{C01E4A10-1F64-457B-987F-86D9FB8C1600}" type="pres">
      <dgm:prSet presAssocID="{C666B119-53A3-4BB4-AC51-174745B9381A}" presName="bottomArc2" presStyleLbl="parChTrans1D1" presStyleIdx="5" presStyleCnt="22"/>
      <dgm:spPr/>
    </dgm:pt>
    <dgm:pt modelId="{EAA89570-3E07-4886-838C-2D2E740E658E}" type="pres">
      <dgm:prSet presAssocID="{C666B119-53A3-4BB4-AC51-174745B9381A}" presName="topConnNode2" presStyleLbl="node3" presStyleIdx="0" presStyleCnt="0"/>
      <dgm:spPr/>
    </dgm:pt>
    <dgm:pt modelId="{EDFCC010-C730-43AD-91D1-142979EB1FD0}" type="pres">
      <dgm:prSet presAssocID="{C666B119-53A3-4BB4-AC51-174745B9381A}" presName="hierChild4" presStyleCnt="0"/>
      <dgm:spPr/>
    </dgm:pt>
    <dgm:pt modelId="{8DC48E7E-345D-4A45-9885-FAA84DE1214E}" type="pres">
      <dgm:prSet presAssocID="{C666B119-53A3-4BB4-AC51-174745B9381A}" presName="hierChild5" presStyleCnt="0"/>
      <dgm:spPr/>
    </dgm:pt>
    <dgm:pt modelId="{F0ABC8FE-B6B2-4E9E-B6D6-FD34D5490060}" type="pres">
      <dgm:prSet presAssocID="{7347007C-0168-4573-8906-24D005DFADC2}" presName="Name28" presStyleLbl="parChTrans1D3" presStyleIdx="1" presStyleCnt="6"/>
      <dgm:spPr/>
    </dgm:pt>
    <dgm:pt modelId="{26BA6929-3539-490E-B6E4-0B40BEAB6471}" type="pres">
      <dgm:prSet presAssocID="{A1C9551A-F7DB-4780-ADF4-2DB46115A009}" presName="hierRoot2" presStyleCnt="0">
        <dgm:presLayoutVars>
          <dgm:hierBranch val="init"/>
        </dgm:presLayoutVars>
      </dgm:prSet>
      <dgm:spPr/>
    </dgm:pt>
    <dgm:pt modelId="{5460B917-3DD4-42CD-9244-52C31FBA31A2}" type="pres">
      <dgm:prSet presAssocID="{A1C9551A-F7DB-4780-ADF4-2DB46115A009}" presName="rootComposite2" presStyleCnt="0"/>
      <dgm:spPr/>
    </dgm:pt>
    <dgm:pt modelId="{DCA7B688-D80B-4849-88A0-DBC762A5BB96}" type="pres">
      <dgm:prSet presAssocID="{A1C9551A-F7DB-4780-ADF4-2DB46115A009}" presName="rootText2" presStyleLbl="alignAcc1" presStyleIdx="0" presStyleCnt="0">
        <dgm:presLayoutVars>
          <dgm:chPref val="3"/>
        </dgm:presLayoutVars>
      </dgm:prSet>
      <dgm:spPr/>
    </dgm:pt>
    <dgm:pt modelId="{6635796E-4650-4B3A-856F-E7300EAF59AD}" type="pres">
      <dgm:prSet presAssocID="{A1C9551A-F7DB-4780-ADF4-2DB46115A009}" presName="topArc2" presStyleLbl="parChTrans1D1" presStyleIdx="6" presStyleCnt="22"/>
      <dgm:spPr/>
    </dgm:pt>
    <dgm:pt modelId="{917576F5-2C2E-4375-8D81-3FDAF8709F6C}" type="pres">
      <dgm:prSet presAssocID="{A1C9551A-F7DB-4780-ADF4-2DB46115A009}" presName="bottomArc2" presStyleLbl="parChTrans1D1" presStyleIdx="7" presStyleCnt="22"/>
      <dgm:spPr/>
    </dgm:pt>
    <dgm:pt modelId="{51E74322-5EDB-47D4-9246-953ACB700C1B}" type="pres">
      <dgm:prSet presAssocID="{A1C9551A-F7DB-4780-ADF4-2DB46115A009}" presName="topConnNode2" presStyleLbl="node3" presStyleIdx="0" presStyleCnt="0"/>
      <dgm:spPr/>
    </dgm:pt>
    <dgm:pt modelId="{2126FE3E-D0A6-4449-B585-883290ECE91B}" type="pres">
      <dgm:prSet presAssocID="{A1C9551A-F7DB-4780-ADF4-2DB46115A009}" presName="hierChild4" presStyleCnt="0"/>
      <dgm:spPr/>
    </dgm:pt>
    <dgm:pt modelId="{0590AEF7-A47E-435A-8639-5AC0059EE9CB}" type="pres">
      <dgm:prSet presAssocID="{A1C9551A-F7DB-4780-ADF4-2DB46115A009}" presName="hierChild5" presStyleCnt="0"/>
      <dgm:spPr/>
    </dgm:pt>
    <dgm:pt modelId="{511DD409-F2FE-4206-AAB4-79AF4E71A176}" type="pres">
      <dgm:prSet presAssocID="{3C062380-BD82-4B1D-8924-2CB1DF4F5FEA}" presName="Name28" presStyleLbl="parChTrans1D3" presStyleIdx="2" presStyleCnt="6"/>
      <dgm:spPr/>
    </dgm:pt>
    <dgm:pt modelId="{96E8D37B-3539-444F-B92C-598CC77E3486}" type="pres">
      <dgm:prSet presAssocID="{45A106C4-2EEE-4DE1-873C-26821C657900}" presName="hierRoot2" presStyleCnt="0">
        <dgm:presLayoutVars>
          <dgm:hierBranch val="init"/>
        </dgm:presLayoutVars>
      </dgm:prSet>
      <dgm:spPr/>
    </dgm:pt>
    <dgm:pt modelId="{E41305F1-72FE-4C7E-8670-CA68E013BE8C}" type="pres">
      <dgm:prSet presAssocID="{45A106C4-2EEE-4DE1-873C-26821C657900}" presName="rootComposite2" presStyleCnt="0"/>
      <dgm:spPr/>
    </dgm:pt>
    <dgm:pt modelId="{C7CFE54E-10EC-4E73-8067-070122947BA0}" type="pres">
      <dgm:prSet presAssocID="{45A106C4-2EEE-4DE1-873C-26821C657900}" presName="rootText2" presStyleLbl="alignAcc1" presStyleIdx="0" presStyleCnt="0">
        <dgm:presLayoutVars>
          <dgm:chPref val="3"/>
        </dgm:presLayoutVars>
      </dgm:prSet>
      <dgm:spPr/>
    </dgm:pt>
    <dgm:pt modelId="{E1720798-1799-4D5F-B77B-E0B2804855CD}" type="pres">
      <dgm:prSet presAssocID="{45A106C4-2EEE-4DE1-873C-26821C657900}" presName="topArc2" presStyleLbl="parChTrans1D1" presStyleIdx="8" presStyleCnt="22"/>
      <dgm:spPr/>
    </dgm:pt>
    <dgm:pt modelId="{87D027C5-A72A-4432-951F-126A58FEDF3A}" type="pres">
      <dgm:prSet presAssocID="{45A106C4-2EEE-4DE1-873C-26821C657900}" presName="bottomArc2" presStyleLbl="parChTrans1D1" presStyleIdx="9" presStyleCnt="22"/>
      <dgm:spPr/>
    </dgm:pt>
    <dgm:pt modelId="{F0A07340-DBE6-4E89-AA43-C65F676438DD}" type="pres">
      <dgm:prSet presAssocID="{45A106C4-2EEE-4DE1-873C-26821C657900}" presName="topConnNode2" presStyleLbl="node3" presStyleIdx="0" presStyleCnt="0"/>
      <dgm:spPr/>
    </dgm:pt>
    <dgm:pt modelId="{4B12765B-A40C-4417-9CC4-13649B205E5C}" type="pres">
      <dgm:prSet presAssocID="{45A106C4-2EEE-4DE1-873C-26821C657900}" presName="hierChild4" presStyleCnt="0"/>
      <dgm:spPr/>
    </dgm:pt>
    <dgm:pt modelId="{EED640BA-0CDF-4ED1-A215-D48BBBAED870}" type="pres">
      <dgm:prSet presAssocID="{45A106C4-2EEE-4DE1-873C-26821C657900}" presName="hierChild5" presStyleCnt="0"/>
      <dgm:spPr/>
    </dgm:pt>
    <dgm:pt modelId="{ED5FFDEE-60FB-4A4D-B40F-D1A10E17DA79}" type="pres">
      <dgm:prSet presAssocID="{16AC7908-9FD2-4C89-85EA-95812F57B8EF}" presName="hierChild5" presStyleCnt="0"/>
      <dgm:spPr/>
    </dgm:pt>
    <dgm:pt modelId="{8B12A1FE-C343-4937-81F5-8E080B79A21D}" type="pres">
      <dgm:prSet presAssocID="{F7033616-3623-4301-B29B-DAF56FC91F3D}" presName="Name28" presStyleLbl="parChTrans1D2" presStyleIdx="1" presStyleCnt="4"/>
      <dgm:spPr/>
    </dgm:pt>
    <dgm:pt modelId="{2362F668-57C8-4436-B6CA-66390A8EE657}" type="pres">
      <dgm:prSet presAssocID="{E91683E6-1100-45A2-96BF-EAEDD3C2EBC5}" presName="hierRoot2" presStyleCnt="0">
        <dgm:presLayoutVars>
          <dgm:hierBranch val="init"/>
        </dgm:presLayoutVars>
      </dgm:prSet>
      <dgm:spPr/>
    </dgm:pt>
    <dgm:pt modelId="{989346DD-139A-4284-88FA-0F09BEAD10B8}" type="pres">
      <dgm:prSet presAssocID="{E91683E6-1100-45A2-96BF-EAEDD3C2EBC5}" presName="rootComposite2" presStyleCnt="0"/>
      <dgm:spPr/>
    </dgm:pt>
    <dgm:pt modelId="{4574AFA3-14FD-45FC-9DAB-4CB0819C6741}" type="pres">
      <dgm:prSet presAssocID="{E91683E6-1100-45A2-96BF-EAEDD3C2EBC5}" presName="rootText2" presStyleLbl="alignAcc1" presStyleIdx="0" presStyleCnt="0">
        <dgm:presLayoutVars>
          <dgm:chPref val="3"/>
        </dgm:presLayoutVars>
      </dgm:prSet>
      <dgm:spPr/>
    </dgm:pt>
    <dgm:pt modelId="{7223C71C-F31B-4CB2-94FF-BD84EF9114BC}" type="pres">
      <dgm:prSet presAssocID="{E91683E6-1100-45A2-96BF-EAEDD3C2EBC5}" presName="topArc2" presStyleLbl="parChTrans1D1" presStyleIdx="10" presStyleCnt="22"/>
      <dgm:spPr/>
    </dgm:pt>
    <dgm:pt modelId="{2568149B-D81D-4FDC-8390-0501304D6367}" type="pres">
      <dgm:prSet presAssocID="{E91683E6-1100-45A2-96BF-EAEDD3C2EBC5}" presName="bottomArc2" presStyleLbl="parChTrans1D1" presStyleIdx="11" presStyleCnt="22"/>
      <dgm:spPr/>
    </dgm:pt>
    <dgm:pt modelId="{20657831-520E-44E8-A4E7-D396DB11EF6B}" type="pres">
      <dgm:prSet presAssocID="{E91683E6-1100-45A2-96BF-EAEDD3C2EBC5}" presName="topConnNode2" presStyleLbl="node2" presStyleIdx="0" presStyleCnt="0"/>
      <dgm:spPr/>
    </dgm:pt>
    <dgm:pt modelId="{930F8DD1-286C-4B1B-A689-39803FECC915}" type="pres">
      <dgm:prSet presAssocID="{E91683E6-1100-45A2-96BF-EAEDD3C2EBC5}" presName="hierChild4" presStyleCnt="0"/>
      <dgm:spPr/>
    </dgm:pt>
    <dgm:pt modelId="{2CB9EE73-804C-4515-99F7-192C9F37A08B}" type="pres">
      <dgm:prSet presAssocID="{BF97F6B4-5F3D-473A-B1C3-26E4145D801C}" presName="Name28" presStyleLbl="parChTrans1D3" presStyleIdx="3" presStyleCnt="6"/>
      <dgm:spPr/>
    </dgm:pt>
    <dgm:pt modelId="{0FDBF669-0892-41D3-9338-1B26A1EC3F53}" type="pres">
      <dgm:prSet presAssocID="{E409BE5E-2BD0-46E8-8A8D-7B825FD42382}" presName="hierRoot2" presStyleCnt="0">
        <dgm:presLayoutVars>
          <dgm:hierBranch val="init"/>
        </dgm:presLayoutVars>
      </dgm:prSet>
      <dgm:spPr/>
    </dgm:pt>
    <dgm:pt modelId="{E9F0D949-DE9F-46CA-863A-615969D2D6E0}" type="pres">
      <dgm:prSet presAssocID="{E409BE5E-2BD0-46E8-8A8D-7B825FD42382}" presName="rootComposite2" presStyleCnt="0"/>
      <dgm:spPr/>
    </dgm:pt>
    <dgm:pt modelId="{79C4F435-E489-4284-B769-0745AC60AB50}" type="pres">
      <dgm:prSet presAssocID="{E409BE5E-2BD0-46E8-8A8D-7B825FD42382}" presName="rootText2" presStyleLbl="alignAcc1" presStyleIdx="0" presStyleCnt="0">
        <dgm:presLayoutVars>
          <dgm:chPref val="3"/>
        </dgm:presLayoutVars>
      </dgm:prSet>
      <dgm:spPr/>
    </dgm:pt>
    <dgm:pt modelId="{16378FFA-F81A-41F1-A174-43311673CD4D}" type="pres">
      <dgm:prSet presAssocID="{E409BE5E-2BD0-46E8-8A8D-7B825FD42382}" presName="topArc2" presStyleLbl="parChTrans1D1" presStyleIdx="12" presStyleCnt="22"/>
      <dgm:spPr/>
    </dgm:pt>
    <dgm:pt modelId="{F6B11F10-CE3C-439D-9719-1280FB153B1A}" type="pres">
      <dgm:prSet presAssocID="{E409BE5E-2BD0-46E8-8A8D-7B825FD42382}" presName="bottomArc2" presStyleLbl="parChTrans1D1" presStyleIdx="13" presStyleCnt="22"/>
      <dgm:spPr/>
    </dgm:pt>
    <dgm:pt modelId="{064242DA-7567-49EC-92AC-92670F49D6A4}" type="pres">
      <dgm:prSet presAssocID="{E409BE5E-2BD0-46E8-8A8D-7B825FD42382}" presName="topConnNode2" presStyleLbl="node3" presStyleIdx="0" presStyleCnt="0"/>
      <dgm:spPr/>
    </dgm:pt>
    <dgm:pt modelId="{15B00031-4FE5-49D4-871C-35BBEFF9BA37}" type="pres">
      <dgm:prSet presAssocID="{E409BE5E-2BD0-46E8-8A8D-7B825FD42382}" presName="hierChild4" presStyleCnt="0"/>
      <dgm:spPr/>
    </dgm:pt>
    <dgm:pt modelId="{A407EA21-ACDB-48BA-85C0-B94C9DE4B57E}" type="pres">
      <dgm:prSet presAssocID="{E409BE5E-2BD0-46E8-8A8D-7B825FD42382}" presName="hierChild5" presStyleCnt="0"/>
      <dgm:spPr/>
    </dgm:pt>
    <dgm:pt modelId="{7738319E-8036-46E4-BB3E-67489ADA9C0B}" type="pres">
      <dgm:prSet presAssocID="{E91683E6-1100-45A2-96BF-EAEDD3C2EBC5}" presName="hierChild5" presStyleCnt="0"/>
      <dgm:spPr/>
    </dgm:pt>
    <dgm:pt modelId="{D3268750-7545-4F02-B89C-43EAF85321A9}" type="pres">
      <dgm:prSet presAssocID="{7CFA88CA-2E7F-428C-A6AC-2ADE5F9FD635}" presName="Name28" presStyleLbl="parChTrans1D2" presStyleIdx="2" presStyleCnt="4"/>
      <dgm:spPr/>
    </dgm:pt>
    <dgm:pt modelId="{9D34C50E-CF39-47AC-AFBF-1E1D86CC955A}" type="pres">
      <dgm:prSet presAssocID="{4DF29417-8941-4E1E-8B97-A93F1730C5CD}" presName="hierRoot2" presStyleCnt="0">
        <dgm:presLayoutVars>
          <dgm:hierBranch val="init"/>
        </dgm:presLayoutVars>
      </dgm:prSet>
      <dgm:spPr/>
    </dgm:pt>
    <dgm:pt modelId="{2EFF8CAE-C3EA-4CBA-9C74-D24848A7F72C}" type="pres">
      <dgm:prSet presAssocID="{4DF29417-8941-4E1E-8B97-A93F1730C5CD}" presName="rootComposite2" presStyleCnt="0"/>
      <dgm:spPr/>
    </dgm:pt>
    <dgm:pt modelId="{4BCDDD1E-0D5A-4074-AE19-68023275F24C}" type="pres">
      <dgm:prSet presAssocID="{4DF29417-8941-4E1E-8B97-A93F1730C5CD}" presName="rootText2" presStyleLbl="alignAcc1" presStyleIdx="0" presStyleCnt="0">
        <dgm:presLayoutVars>
          <dgm:chPref val="3"/>
        </dgm:presLayoutVars>
      </dgm:prSet>
      <dgm:spPr/>
    </dgm:pt>
    <dgm:pt modelId="{97E31FF0-BADC-4A72-81E9-A3ED99F74BBB}" type="pres">
      <dgm:prSet presAssocID="{4DF29417-8941-4E1E-8B97-A93F1730C5CD}" presName="topArc2" presStyleLbl="parChTrans1D1" presStyleIdx="14" presStyleCnt="22"/>
      <dgm:spPr/>
    </dgm:pt>
    <dgm:pt modelId="{1CA89E6A-0F9F-4299-919F-EBFF3D9A2443}" type="pres">
      <dgm:prSet presAssocID="{4DF29417-8941-4E1E-8B97-A93F1730C5CD}" presName="bottomArc2" presStyleLbl="parChTrans1D1" presStyleIdx="15" presStyleCnt="22"/>
      <dgm:spPr/>
    </dgm:pt>
    <dgm:pt modelId="{E4D845B8-58BD-47C6-BDC2-3E522452C645}" type="pres">
      <dgm:prSet presAssocID="{4DF29417-8941-4E1E-8B97-A93F1730C5CD}" presName="topConnNode2" presStyleLbl="node2" presStyleIdx="0" presStyleCnt="0"/>
      <dgm:spPr/>
    </dgm:pt>
    <dgm:pt modelId="{8E3F2562-23F6-42CA-A86A-2113B2F75F9F}" type="pres">
      <dgm:prSet presAssocID="{4DF29417-8941-4E1E-8B97-A93F1730C5CD}" presName="hierChild4" presStyleCnt="0"/>
      <dgm:spPr/>
    </dgm:pt>
    <dgm:pt modelId="{00821523-0A0E-4AF9-8DC6-CF5C071A13CF}" type="pres">
      <dgm:prSet presAssocID="{0B3F4E3D-EBBD-4C9E-9D39-041361D5F82D}" presName="Name28" presStyleLbl="parChTrans1D3" presStyleIdx="4" presStyleCnt="6"/>
      <dgm:spPr/>
    </dgm:pt>
    <dgm:pt modelId="{00F03978-523B-4964-A43E-620C734B9337}" type="pres">
      <dgm:prSet presAssocID="{982FE758-3BDD-45B3-9A64-D794ABAB27B9}" presName="hierRoot2" presStyleCnt="0">
        <dgm:presLayoutVars>
          <dgm:hierBranch val="init"/>
        </dgm:presLayoutVars>
      </dgm:prSet>
      <dgm:spPr/>
    </dgm:pt>
    <dgm:pt modelId="{B64DDFA5-ABED-4D3C-BD38-AE26975673B1}" type="pres">
      <dgm:prSet presAssocID="{982FE758-3BDD-45B3-9A64-D794ABAB27B9}" presName="rootComposite2" presStyleCnt="0"/>
      <dgm:spPr/>
    </dgm:pt>
    <dgm:pt modelId="{5D02CD8A-7F71-482A-8B38-8B8980F8B64D}" type="pres">
      <dgm:prSet presAssocID="{982FE758-3BDD-45B3-9A64-D794ABAB27B9}" presName="rootText2" presStyleLbl="alignAcc1" presStyleIdx="0" presStyleCnt="0">
        <dgm:presLayoutVars>
          <dgm:chPref val="3"/>
        </dgm:presLayoutVars>
      </dgm:prSet>
      <dgm:spPr/>
    </dgm:pt>
    <dgm:pt modelId="{77EBC645-B794-4D7B-8DC9-46AB2A9F7CA7}" type="pres">
      <dgm:prSet presAssocID="{982FE758-3BDD-45B3-9A64-D794ABAB27B9}" presName="topArc2" presStyleLbl="parChTrans1D1" presStyleIdx="16" presStyleCnt="22"/>
      <dgm:spPr/>
    </dgm:pt>
    <dgm:pt modelId="{6FA5B227-4FA0-4496-B388-D01DD79D96A8}" type="pres">
      <dgm:prSet presAssocID="{982FE758-3BDD-45B3-9A64-D794ABAB27B9}" presName="bottomArc2" presStyleLbl="parChTrans1D1" presStyleIdx="17" presStyleCnt="22"/>
      <dgm:spPr/>
    </dgm:pt>
    <dgm:pt modelId="{75234E4E-E490-4AB5-81C0-E6D64B3CAC80}" type="pres">
      <dgm:prSet presAssocID="{982FE758-3BDD-45B3-9A64-D794ABAB27B9}" presName="topConnNode2" presStyleLbl="node3" presStyleIdx="0" presStyleCnt="0"/>
      <dgm:spPr/>
    </dgm:pt>
    <dgm:pt modelId="{1AF816F0-F7B8-499E-9149-4F959E46EDD6}" type="pres">
      <dgm:prSet presAssocID="{982FE758-3BDD-45B3-9A64-D794ABAB27B9}" presName="hierChild4" presStyleCnt="0"/>
      <dgm:spPr/>
    </dgm:pt>
    <dgm:pt modelId="{F6915D63-DEF4-4B11-A3EA-FC682042A16C}" type="pres">
      <dgm:prSet presAssocID="{982FE758-3BDD-45B3-9A64-D794ABAB27B9}" presName="hierChild5" presStyleCnt="0"/>
      <dgm:spPr/>
    </dgm:pt>
    <dgm:pt modelId="{8065C485-C9FB-4F6A-9E39-925ABD2A4274}" type="pres">
      <dgm:prSet presAssocID="{4DF29417-8941-4E1E-8B97-A93F1730C5CD}" presName="hierChild5" presStyleCnt="0"/>
      <dgm:spPr/>
    </dgm:pt>
    <dgm:pt modelId="{A1DFAD72-2AE1-41A8-9839-A78BB0D81EBD}" type="pres">
      <dgm:prSet presAssocID="{EB3B91E6-6C9D-4DD4-9B61-562CA3E85638}" presName="Name28" presStyleLbl="parChTrans1D2" presStyleIdx="3" presStyleCnt="4"/>
      <dgm:spPr/>
    </dgm:pt>
    <dgm:pt modelId="{6120954F-A562-407B-B55E-5FE576938418}" type="pres">
      <dgm:prSet presAssocID="{BE96ED41-EF02-4DD3-B1A4-5E24051D2361}" presName="hierRoot2" presStyleCnt="0">
        <dgm:presLayoutVars>
          <dgm:hierBranch val="init"/>
        </dgm:presLayoutVars>
      </dgm:prSet>
      <dgm:spPr/>
    </dgm:pt>
    <dgm:pt modelId="{1C977B68-C688-46AF-9E92-40321D2FF8A5}" type="pres">
      <dgm:prSet presAssocID="{BE96ED41-EF02-4DD3-B1A4-5E24051D2361}" presName="rootComposite2" presStyleCnt="0"/>
      <dgm:spPr/>
    </dgm:pt>
    <dgm:pt modelId="{7CD2934F-9993-455C-80FC-D6D1AF638DDB}" type="pres">
      <dgm:prSet presAssocID="{BE96ED41-EF02-4DD3-B1A4-5E24051D2361}" presName="rootText2" presStyleLbl="alignAcc1" presStyleIdx="0" presStyleCnt="0">
        <dgm:presLayoutVars>
          <dgm:chPref val="3"/>
        </dgm:presLayoutVars>
      </dgm:prSet>
      <dgm:spPr/>
    </dgm:pt>
    <dgm:pt modelId="{F1BD8270-6C45-44DE-8A9A-67C727698D1B}" type="pres">
      <dgm:prSet presAssocID="{BE96ED41-EF02-4DD3-B1A4-5E24051D2361}" presName="topArc2" presStyleLbl="parChTrans1D1" presStyleIdx="18" presStyleCnt="22"/>
      <dgm:spPr/>
    </dgm:pt>
    <dgm:pt modelId="{7982BF51-A7D0-47ED-B893-99C93713FB82}" type="pres">
      <dgm:prSet presAssocID="{BE96ED41-EF02-4DD3-B1A4-5E24051D2361}" presName="bottomArc2" presStyleLbl="parChTrans1D1" presStyleIdx="19" presStyleCnt="22"/>
      <dgm:spPr/>
    </dgm:pt>
    <dgm:pt modelId="{5CB78B71-6E1C-4ADD-B6EB-C6E870860A7F}" type="pres">
      <dgm:prSet presAssocID="{BE96ED41-EF02-4DD3-B1A4-5E24051D2361}" presName="topConnNode2" presStyleLbl="node2" presStyleIdx="0" presStyleCnt="0"/>
      <dgm:spPr/>
    </dgm:pt>
    <dgm:pt modelId="{23F1E9AE-D689-4F60-A6A2-AE61B1A624AF}" type="pres">
      <dgm:prSet presAssocID="{BE96ED41-EF02-4DD3-B1A4-5E24051D2361}" presName="hierChild4" presStyleCnt="0"/>
      <dgm:spPr/>
    </dgm:pt>
    <dgm:pt modelId="{165CEDC3-3BA0-48D0-A272-FF1BE93A106E}" type="pres">
      <dgm:prSet presAssocID="{08777613-5D72-4737-9006-F690BD1761FE}" presName="Name28" presStyleLbl="parChTrans1D3" presStyleIdx="5" presStyleCnt="6"/>
      <dgm:spPr/>
    </dgm:pt>
    <dgm:pt modelId="{1D8C4335-9FBD-465B-B33B-BA1BDD8B7B7E}" type="pres">
      <dgm:prSet presAssocID="{6F339BF9-13E2-427B-BFF6-447502718B4C}" presName="hierRoot2" presStyleCnt="0">
        <dgm:presLayoutVars>
          <dgm:hierBranch val="init"/>
        </dgm:presLayoutVars>
      </dgm:prSet>
      <dgm:spPr/>
    </dgm:pt>
    <dgm:pt modelId="{DCFB2B3A-1D0F-4618-B0E7-03FE953A8296}" type="pres">
      <dgm:prSet presAssocID="{6F339BF9-13E2-427B-BFF6-447502718B4C}" presName="rootComposite2" presStyleCnt="0"/>
      <dgm:spPr/>
    </dgm:pt>
    <dgm:pt modelId="{B3C49D7B-D231-4BDF-AE6C-439CD73AABE9}" type="pres">
      <dgm:prSet presAssocID="{6F339BF9-13E2-427B-BFF6-447502718B4C}" presName="rootText2" presStyleLbl="alignAcc1" presStyleIdx="0" presStyleCnt="0">
        <dgm:presLayoutVars>
          <dgm:chPref val="3"/>
        </dgm:presLayoutVars>
      </dgm:prSet>
      <dgm:spPr/>
    </dgm:pt>
    <dgm:pt modelId="{8797A065-45A7-4C69-92D3-B427935F7ED5}" type="pres">
      <dgm:prSet presAssocID="{6F339BF9-13E2-427B-BFF6-447502718B4C}" presName="topArc2" presStyleLbl="parChTrans1D1" presStyleIdx="20" presStyleCnt="22"/>
      <dgm:spPr/>
    </dgm:pt>
    <dgm:pt modelId="{B651F6EF-0F95-4FC6-A0E3-1EECFC1B87BF}" type="pres">
      <dgm:prSet presAssocID="{6F339BF9-13E2-427B-BFF6-447502718B4C}" presName="bottomArc2" presStyleLbl="parChTrans1D1" presStyleIdx="21" presStyleCnt="22"/>
      <dgm:spPr/>
    </dgm:pt>
    <dgm:pt modelId="{5A2E9CDB-2006-41C0-9784-B6086DAD2024}" type="pres">
      <dgm:prSet presAssocID="{6F339BF9-13E2-427B-BFF6-447502718B4C}" presName="topConnNode2" presStyleLbl="node3" presStyleIdx="0" presStyleCnt="0"/>
      <dgm:spPr/>
    </dgm:pt>
    <dgm:pt modelId="{D7584FC0-8B2D-4B72-9B8D-34FA23FB68E5}" type="pres">
      <dgm:prSet presAssocID="{6F339BF9-13E2-427B-BFF6-447502718B4C}" presName="hierChild4" presStyleCnt="0"/>
      <dgm:spPr/>
    </dgm:pt>
    <dgm:pt modelId="{E1B5E56C-B480-414B-BBA0-0BDC4DEA3991}" type="pres">
      <dgm:prSet presAssocID="{6F339BF9-13E2-427B-BFF6-447502718B4C}" presName="hierChild5" presStyleCnt="0"/>
      <dgm:spPr/>
    </dgm:pt>
    <dgm:pt modelId="{E054C1C1-2558-4594-A66E-632EA9ACA1F4}" type="pres">
      <dgm:prSet presAssocID="{BE96ED41-EF02-4DD3-B1A4-5E24051D2361}" presName="hierChild5" presStyleCnt="0"/>
      <dgm:spPr/>
    </dgm:pt>
    <dgm:pt modelId="{357B15DB-4FD9-4C4E-A769-A0EE369E637D}" type="pres">
      <dgm:prSet presAssocID="{FDE5D752-6C3F-4B2B-BB93-2751943ACC5E}" presName="hierChild3" presStyleCnt="0"/>
      <dgm:spPr/>
    </dgm:pt>
  </dgm:ptLst>
  <dgm:cxnLst>
    <dgm:cxn modelId="{72FE6F0A-F16B-4CD9-AD76-8E3CD6F25D4F}" type="presOf" srcId="{16AC7908-9FD2-4C89-85EA-95812F57B8EF}" destId="{E1086538-C7C8-4E61-BD0B-8D5562E8A415}" srcOrd="1" destOrd="0" presId="urn:microsoft.com/office/officeart/2008/layout/HalfCircleOrganizationChart"/>
    <dgm:cxn modelId="{3107660B-DA4C-4D97-9BE2-873AE2E8F47B}" type="presOf" srcId="{E91683E6-1100-45A2-96BF-EAEDD3C2EBC5}" destId="{20657831-520E-44E8-A4E7-D396DB11EF6B}" srcOrd="1" destOrd="0" presId="urn:microsoft.com/office/officeart/2008/layout/HalfCircleOrganizationChart"/>
    <dgm:cxn modelId="{BC223C16-96F6-472D-B9E2-BCB0BB0E8F0C}" type="presOf" srcId="{0B3F4E3D-EBBD-4C9E-9D39-041361D5F82D}" destId="{00821523-0A0E-4AF9-8DC6-CF5C071A13CF}" srcOrd="0" destOrd="0" presId="urn:microsoft.com/office/officeart/2008/layout/HalfCircleOrganizationChart"/>
    <dgm:cxn modelId="{ABE47616-89B7-4C90-8AF7-966E4983E689}" type="presOf" srcId="{A1C9551A-F7DB-4780-ADF4-2DB46115A009}" destId="{51E74322-5EDB-47D4-9246-953ACB700C1B}" srcOrd="1" destOrd="0" presId="urn:microsoft.com/office/officeart/2008/layout/HalfCircleOrganizationChart"/>
    <dgm:cxn modelId="{1D234822-E576-49EE-81D9-5163EC99A607}" type="presOf" srcId="{BE96ED41-EF02-4DD3-B1A4-5E24051D2361}" destId="{7CD2934F-9993-455C-80FC-D6D1AF638DDB}" srcOrd="0" destOrd="0" presId="urn:microsoft.com/office/officeart/2008/layout/HalfCircleOrganizationChart"/>
    <dgm:cxn modelId="{2AE55E23-6CF7-4B69-A21F-B903DF0E0CDF}" type="presOf" srcId="{BE96ED41-EF02-4DD3-B1A4-5E24051D2361}" destId="{5CB78B71-6E1C-4ADD-B6EB-C6E870860A7F}" srcOrd="1" destOrd="0" presId="urn:microsoft.com/office/officeart/2008/layout/HalfCircleOrganizationChart"/>
    <dgm:cxn modelId="{D435B52E-E480-4FCB-846F-455A83379DD0}" type="presOf" srcId="{F7033616-3623-4301-B29B-DAF56FC91F3D}" destId="{8B12A1FE-C343-4937-81F5-8E080B79A21D}" srcOrd="0" destOrd="0" presId="urn:microsoft.com/office/officeart/2008/layout/HalfCircleOrganizationChart"/>
    <dgm:cxn modelId="{7E255B33-71DD-45F5-9EAF-2B5ED1FE5CA1}" type="presOf" srcId="{982FE758-3BDD-45B3-9A64-D794ABAB27B9}" destId="{5D02CD8A-7F71-482A-8B38-8B8980F8B64D}" srcOrd="0" destOrd="0" presId="urn:microsoft.com/office/officeart/2008/layout/HalfCircleOrganizationChart"/>
    <dgm:cxn modelId="{89A7F839-89E0-4A86-B3AF-7D39C805A86E}" srcId="{E91683E6-1100-45A2-96BF-EAEDD3C2EBC5}" destId="{E409BE5E-2BD0-46E8-8A8D-7B825FD42382}" srcOrd="0" destOrd="0" parTransId="{BF97F6B4-5F3D-473A-B1C3-26E4145D801C}" sibTransId="{BC42F632-239C-4343-981C-9AF023A8BBE0}"/>
    <dgm:cxn modelId="{6F3EA15C-7218-4875-8034-0A5DA7E8F0FC}" type="presOf" srcId="{FDE5D752-6C3F-4B2B-BB93-2751943ACC5E}" destId="{DE0C9546-C923-428E-A9D9-24866B317E14}" srcOrd="0" destOrd="0" presId="urn:microsoft.com/office/officeart/2008/layout/HalfCircleOrganizationChart"/>
    <dgm:cxn modelId="{47B6F762-13EB-437C-B7A6-024FFE057E3C}" srcId="{FDE5D752-6C3F-4B2B-BB93-2751943ACC5E}" destId="{4DF29417-8941-4E1E-8B97-A93F1730C5CD}" srcOrd="2" destOrd="0" parTransId="{7CFA88CA-2E7F-428C-A6AC-2ADE5F9FD635}" sibTransId="{02D8E1FA-FD43-41EC-956E-D25573085B35}"/>
    <dgm:cxn modelId="{14635849-C731-4052-8BEE-9A59FE333C54}" srcId="{FDE5D752-6C3F-4B2B-BB93-2751943ACC5E}" destId="{BE96ED41-EF02-4DD3-B1A4-5E24051D2361}" srcOrd="3" destOrd="0" parTransId="{EB3B91E6-6C9D-4DD4-9B61-562CA3E85638}" sibTransId="{26FD52BD-554D-4D1F-AFB9-31A616E66BF5}"/>
    <dgm:cxn modelId="{8B49354A-5CB5-43DA-BE79-42C3E4D963AE}" type="presOf" srcId="{7CFA88CA-2E7F-428C-A6AC-2ADE5F9FD635}" destId="{D3268750-7545-4F02-B89C-43EAF85321A9}" srcOrd="0" destOrd="0" presId="urn:microsoft.com/office/officeart/2008/layout/HalfCircleOrganizationChart"/>
    <dgm:cxn modelId="{D916284B-8711-4D33-B8CB-0A2E15D92361}" srcId="{4DF29417-8941-4E1E-8B97-A93F1730C5CD}" destId="{982FE758-3BDD-45B3-9A64-D794ABAB27B9}" srcOrd="0" destOrd="0" parTransId="{0B3F4E3D-EBBD-4C9E-9D39-041361D5F82D}" sibTransId="{D1996E15-631E-40BA-88DE-00EBC95782A9}"/>
    <dgm:cxn modelId="{713EF56F-F972-4A3F-B11D-179987AEC015}" type="presOf" srcId="{EB3B91E6-6C9D-4DD4-9B61-562CA3E85638}" destId="{A1DFAD72-2AE1-41A8-9839-A78BB0D81EBD}" srcOrd="0" destOrd="0" presId="urn:microsoft.com/office/officeart/2008/layout/HalfCircleOrganizationChart"/>
    <dgm:cxn modelId="{E9D01050-97D0-46ED-B263-FA59C673FB03}" type="presOf" srcId="{E409BE5E-2BD0-46E8-8A8D-7B825FD42382}" destId="{064242DA-7567-49EC-92AC-92670F49D6A4}" srcOrd="1" destOrd="0" presId="urn:microsoft.com/office/officeart/2008/layout/HalfCircleOrganizationChart"/>
    <dgm:cxn modelId="{8EB37B50-204C-4AA0-ACC4-1135876ABC06}" type="presOf" srcId="{6F339BF9-13E2-427B-BFF6-447502718B4C}" destId="{5A2E9CDB-2006-41C0-9784-B6086DAD2024}" srcOrd="1" destOrd="0" presId="urn:microsoft.com/office/officeart/2008/layout/HalfCircleOrganizationChart"/>
    <dgm:cxn modelId="{C8471952-538E-40D2-B443-8CB4FAEC8BA0}" srcId="{FDE5D752-6C3F-4B2B-BB93-2751943ACC5E}" destId="{E91683E6-1100-45A2-96BF-EAEDD3C2EBC5}" srcOrd="1" destOrd="0" parTransId="{F7033616-3623-4301-B29B-DAF56FC91F3D}" sibTransId="{9579AF3E-4F36-4CD7-AC9C-5AA6C50F250E}"/>
    <dgm:cxn modelId="{7A222373-323C-4717-83E4-D3A45267B194}" type="presOf" srcId="{C666B119-53A3-4BB4-AC51-174745B9381A}" destId="{3D2046DE-E241-4796-A0AE-40986BECF875}" srcOrd="0" destOrd="0" presId="urn:microsoft.com/office/officeart/2008/layout/HalfCircleOrganizationChart"/>
    <dgm:cxn modelId="{C20EB154-6F86-4CB0-99B2-CFBDB8AE5676}" type="presOf" srcId="{FDE5D752-6C3F-4B2B-BB93-2751943ACC5E}" destId="{7E0AB792-A456-4681-9242-6B3DC5E9CF67}" srcOrd="1" destOrd="0" presId="urn:microsoft.com/office/officeart/2008/layout/HalfCircleOrganizationChart"/>
    <dgm:cxn modelId="{45304655-9542-4CDB-BA8E-16DC91491B9C}" type="presOf" srcId="{16AC7908-9FD2-4C89-85EA-95812F57B8EF}" destId="{D8B61374-346A-4610-9E60-21496AF0E06F}" srcOrd="0" destOrd="0" presId="urn:microsoft.com/office/officeart/2008/layout/HalfCircleOrganizationChart"/>
    <dgm:cxn modelId="{F07DE156-0F96-4D20-9E2F-9FAA7C2ED80D}" type="presOf" srcId="{4DF29417-8941-4E1E-8B97-A93F1730C5CD}" destId="{4BCDDD1E-0D5A-4074-AE19-68023275F24C}" srcOrd="0" destOrd="0" presId="urn:microsoft.com/office/officeart/2008/layout/HalfCircleOrganizationChart"/>
    <dgm:cxn modelId="{27E54059-D7A7-4AB0-868C-4000B432107B}" type="presOf" srcId="{45A106C4-2EEE-4DE1-873C-26821C657900}" destId="{F0A07340-DBE6-4E89-AA43-C65F676438DD}" srcOrd="1" destOrd="0" presId="urn:microsoft.com/office/officeart/2008/layout/HalfCircleOrganizationChart"/>
    <dgm:cxn modelId="{BFA0477A-8B65-45B4-92F2-C66EAAD884C3}" type="presOf" srcId="{F1C4BF35-C705-4EAE-B6A3-44750B0609FB}" destId="{B9BAE515-94AB-48E5-9EAE-671DFBD7DC71}" srcOrd="0" destOrd="0" presId="urn:microsoft.com/office/officeart/2008/layout/HalfCircleOrganizationChart"/>
    <dgm:cxn modelId="{BF7C9B7D-F143-4ACF-A7D0-246449162685}" srcId="{BE96ED41-EF02-4DD3-B1A4-5E24051D2361}" destId="{6F339BF9-13E2-427B-BFF6-447502718B4C}" srcOrd="0" destOrd="0" parTransId="{08777613-5D72-4737-9006-F690BD1761FE}" sibTransId="{9B12CFC1-ED51-4B7C-8DF5-D3D774DFF9F8}"/>
    <dgm:cxn modelId="{DF153491-B2B6-45AC-AD7A-04804EA5A955}" type="presOf" srcId="{C666B119-53A3-4BB4-AC51-174745B9381A}" destId="{EAA89570-3E07-4886-838C-2D2E740E658E}" srcOrd="1" destOrd="0" presId="urn:microsoft.com/office/officeart/2008/layout/HalfCircleOrganizationChart"/>
    <dgm:cxn modelId="{96C78F95-594B-49F3-9BD9-38E5E640E6DB}" type="presOf" srcId="{E409BE5E-2BD0-46E8-8A8D-7B825FD42382}" destId="{79C4F435-E489-4284-B769-0745AC60AB50}" srcOrd="0" destOrd="0" presId="urn:microsoft.com/office/officeart/2008/layout/HalfCircleOrganizationChart"/>
    <dgm:cxn modelId="{59AB2596-4C77-4BD2-8540-B4A13FFC2EBC}" type="presOf" srcId="{E91683E6-1100-45A2-96BF-EAEDD3C2EBC5}" destId="{4574AFA3-14FD-45FC-9DAB-4CB0819C6741}" srcOrd="0" destOrd="0" presId="urn:microsoft.com/office/officeart/2008/layout/HalfCircleOrganizationChart"/>
    <dgm:cxn modelId="{76C74599-9AA4-4795-A154-10EFA2EA66B2}" type="presOf" srcId="{F04613AA-FC1F-4109-B0A9-518CFFD826A2}" destId="{870222C8-0F14-4A41-8058-77E7BBA2DEF1}" srcOrd="0" destOrd="0" presId="urn:microsoft.com/office/officeart/2008/layout/HalfCircleOrganizationChart"/>
    <dgm:cxn modelId="{EAFABEA1-4F7D-4866-9FAD-326BD9DBBDE1}" srcId="{FDE5D752-6C3F-4B2B-BB93-2751943ACC5E}" destId="{16AC7908-9FD2-4C89-85EA-95812F57B8EF}" srcOrd="0" destOrd="0" parTransId="{E16B97A3-C035-42C8-8A5E-7236583C6959}" sibTransId="{CF1AD92D-361F-4CC3-B51C-CAC5D6954259}"/>
    <dgm:cxn modelId="{C268BEA5-1AA3-43AB-BDDB-96A1C70C71F5}" type="presOf" srcId="{BF97F6B4-5F3D-473A-B1C3-26E4145D801C}" destId="{2CB9EE73-804C-4515-99F7-192C9F37A08B}" srcOrd="0" destOrd="0" presId="urn:microsoft.com/office/officeart/2008/layout/HalfCircleOrganizationChart"/>
    <dgm:cxn modelId="{1065DDA6-0AEF-4BCA-9B92-1722C2036D6F}" type="presOf" srcId="{982FE758-3BDD-45B3-9A64-D794ABAB27B9}" destId="{75234E4E-E490-4AB5-81C0-E6D64B3CAC80}" srcOrd="1" destOrd="0" presId="urn:microsoft.com/office/officeart/2008/layout/HalfCircleOrganizationChart"/>
    <dgm:cxn modelId="{98462FAB-9733-47DB-A671-54AAB65FD108}" srcId="{16AC7908-9FD2-4C89-85EA-95812F57B8EF}" destId="{A1C9551A-F7DB-4780-ADF4-2DB46115A009}" srcOrd="1" destOrd="0" parTransId="{7347007C-0168-4573-8906-24D005DFADC2}" sibTransId="{1AD92EFC-D129-48E2-867B-CDFF7145BEE4}"/>
    <dgm:cxn modelId="{A9D0C5AB-1051-42A6-A2BB-EABD58D756DE}" srcId="{F1C4BF35-C705-4EAE-B6A3-44750B0609FB}" destId="{FDE5D752-6C3F-4B2B-BB93-2751943ACC5E}" srcOrd="0" destOrd="0" parTransId="{5D7141C3-23E6-4B90-8C05-1648F87FB211}" sibTransId="{D086DD93-FCC6-40ED-8EAD-34CD9AEF7B21}"/>
    <dgm:cxn modelId="{D39477B1-9545-4F00-BDD4-D54CFD383B6E}" type="presOf" srcId="{08777613-5D72-4737-9006-F690BD1761FE}" destId="{165CEDC3-3BA0-48D0-A272-FF1BE93A106E}" srcOrd="0" destOrd="0" presId="urn:microsoft.com/office/officeart/2008/layout/HalfCircleOrganizationChart"/>
    <dgm:cxn modelId="{8012CFB7-B942-4AEF-B341-349DEDFF091D}" srcId="{16AC7908-9FD2-4C89-85EA-95812F57B8EF}" destId="{C666B119-53A3-4BB4-AC51-174745B9381A}" srcOrd="0" destOrd="0" parTransId="{F04613AA-FC1F-4109-B0A9-518CFFD826A2}" sibTransId="{F3DD366E-BF41-4873-8B15-A092C3481BEF}"/>
    <dgm:cxn modelId="{82CE0EBA-4BB7-42B9-A3D3-FF6BF8FA2F43}" type="presOf" srcId="{7347007C-0168-4573-8906-24D005DFADC2}" destId="{F0ABC8FE-B6B2-4E9E-B6D6-FD34D5490060}" srcOrd="0" destOrd="0" presId="urn:microsoft.com/office/officeart/2008/layout/HalfCircleOrganizationChart"/>
    <dgm:cxn modelId="{527059BB-28AD-45B4-A1C2-0ABBD7B01559}" type="presOf" srcId="{A1C9551A-F7DB-4780-ADF4-2DB46115A009}" destId="{DCA7B688-D80B-4849-88A0-DBC762A5BB96}" srcOrd="0" destOrd="0" presId="urn:microsoft.com/office/officeart/2008/layout/HalfCircleOrganizationChart"/>
    <dgm:cxn modelId="{70CD52DC-3ECB-4F45-9DE0-4CE847E1D7D8}" type="presOf" srcId="{6F339BF9-13E2-427B-BFF6-447502718B4C}" destId="{B3C49D7B-D231-4BDF-AE6C-439CD73AABE9}" srcOrd="0" destOrd="0" presId="urn:microsoft.com/office/officeart/2008/layout/HalfCircleOrganizationChart"/>
    <dgm:cxn modelId="{8C3BFCDE-BEB7-4552-B5C4-B96DD1FCC0B2}" type="presOf" srcId="{E16B97A3-C035-42C8-8A5E-7236583C6959}" destId="{09081699-EA89-4C5E-895C-4FDBCB517000}" srcOrd="0" destOrd="0" presId="urn:microsoft.com/office/officeart/2008/layout/HalfCircleOrganizationChart"/>
    <dgm:cxn modelId="{6AB88BE7-6FFF-457A-BA6A-A26833FBC006}" type="presOf" srcId="{4DF29417-8941-4E1E-8B97-A93F1730C5CD}" destId="{E4D845B8-58BD-47C6-BDC2-3E522452C645}" srcOrd="1" destOrd="0" presId="urn:microsoft.com/office/officeart/2008/layout/HalfCircleOrganizationChart"/>
    <dgm:cxn modelId="{480914F6-BFA7-43CF-864F-2AF67AE609AE}" type="presOf" srcId="{3C062380-BD82-4B1D-8924-2CB1DF4F5FEA}" destId="{511DD409-F2FE-4206-AAB4-79AF4E71A176}" srcOrd="0" destOrd="0" presId="urn:microsoft.com/office/officeart/2008/layout/HalfCircleOrganizationChart"/>
    <dgm:cxn modelId="{9C68E8FA-956F-4825-99B0-DD959ABA31BB}" srcId="{16AC7908-9FD2-4C89-85EA-95812F57B8EF}" destId="{45A106C4-2EEE-4DE1-873C-26821C657900}" srcOrd="2" destOrd="0" parTransId="{3C062380-BD82-4B1D-8924-2CB1DF4F5FEA}" sibTransId="{DD418F6D-2105-4FA6-B788-99728F0D3B7A}"/>
    <dgm:cxn modelId="{29180EFE-CDE3-4EBE-B7F3-AE4A4DF06CDB}" type="presOf" srcId="{45A106C4-2EEE-4DE1-873C-26821C657900}" destId="{C7CFE54E-10EC-4E73-8067-070122947BA0}" srcOrd="0" destOrd="0" presId="urn:microsoft.com/office/officeart/2008/layout/HalfCircleOrganizationChart"/>
    <dgm:cxn modelId="{DD0AC778-3F48-498C-8EB2-8567616140B2}" type="presParOf" srcId="{B9BAE515-94AB-48E5-9EAE-671DFBD7DC71}" destId="{35891063-D4AB-441B-86C1-EA833626547B}" srcOrd="0" destOrd="0" presId="urn:microsoft.com/office/officeart/2008/layout/HalfCircleOrganizationChart"/>
    <dgm:cxn modelId="{99F749E0-4EDE-4A85-88E1-B1ACFD6D5092}" type="presParOf" srcId="{35891063-D4AB-441B-86C1-EA833626547B}" destId="{4E7F3FAE-49A5-4A3A-AC35-3A61E7E642AA}" srcOrd="0" destOrd="0" presId="urn:microsoft.com/office/officeart/2008/layout/HalfCircleOrganizationChart"/>
    <dgm:cxn modelId="{98C4146C-2328-4721-AABA-405CFA74EF81}" type="presParOf" srcId="{4E7F3FAE-49A5-4A3A-AC35-3A61E7E642AA}" destId="{DE0C9546-C923-428E-A9D9-24866B317E14}" srcOrd="0" destOrd="0" presId="urn:microsoft.com/office/officeart/2008/layout/HalfCircleOrganizationChart"/>
    <dgm:cxn modelId="{C5161A05-EABE-4FFD-9CAD-F45DDCFA0FA2}" type="presParOf" srcId="{4E7F3FAE-49A5-4A3A-AC35-3A61E7E642AA}" destId="{834EFF2F-F0F1-4052-BC6F-8B087914CAAC}" srcOrd="1" destOrd="0" presId="urn:microsoft.com/office/officeart/2008/layout/HalfCircleOrganizationChart"/>
    <dgm:cxn modelId="{C240BDD8-17EE-4B5B-9E35-DDB94A45AB93}" type="presParOf" srcId="{4E7F3FAE-49A5-4A3A-AC35-3A61E7E642AA}" destId="{F79FE743-DAA3-42EB-98A2-C714E1408F26}" srcOrd="2" destOrd="0" presId="urn:microsoft.com/office/officeart/2008/layout/HalfCircleOrganizationChart"/>
    <dgm:cxn modelId="{403F4EC5-46B9-4BE2-8EE4-5C30E5C7AC84}" type="presParOf" srcId="{4E7F3FAE-49A5-4A3A-AC35-3A61E7E642AA}" destId="{7E0AB792-A456-4681-9242-6B3DC5E9CF67}" srcOrd="3" destOrd="0" presId="urn:microsoft.com/office/officeart/2008/layout/HalfCircleOrganizationChart"/>
    <dgm:cxn modelId="{39863FFA-28BE-4D13-9F37-35B89572FE03}" type="presParOf" srcId="{35891063-D4AB-441B-86C1-EA833626547B}" destId="{0FC70C9D-14C5-4A26-8D0D-FA425CD6F661}" srcOrd="1" destOrd="0" presId="urn:microsoft.com/office/officeart/2008/layout/HalfCircleOrganizationChart"/>
    <dgm:cxn modelId="{CAEAA7CD-1886-4E96-BBF9-1102A75B52A8}" type="presParOf" srcId="{0FC70C9D-14C5-4A26-8D0D-FA425CD6F661}" destId="{09081699-EA89-4C5E-895C-4FDBCB517000}" srcOrd="0" destOrd="0" presId="urn:microsoft.com/office/officeart/2008/layout/HalfCircleOrganizationChart"/>
    <dgm:cxn modelId="{9E45BD25-0CB1-41E3-ADD5-224B64BF0467}" type="presParOf" srcId="{0FC70C9D-14C5-4A26-8D0D-FA425CD6F661}" destId="{3213F41B-421A-4A4F-BE89-438BF0AF12B7}" srcOrd="1" destOrd="0" presId="urn:microsoft.com/office/officeart/2008/layout/HalfCircleOrganizationChart"/>
    <dgm:cxn modelId="{4BB60597-5800-4355-84E4-0F750C72A4E3}" type="presParOf" srcId="{3213F41B-421A-4A4F-BE89-438BF0AF12B7}" destId="{AE93E942-E65D-4471-911A-BF52EC785A9D}" srcOrd="0" destOrd="0" presId="urn:microsoft.com/office/officeart/2008/layout/HalfCircleOrganizationChart"/>
    <dgm:cxn modelId="{CDD741EF-F0B1-44DA-BBA6-CD8480CF431A}" type="presParOf" srcId="{AE93E942-E65D-4471-911A-BF52EC785A9D}" destId="{D8B61374-346A-4610-9E60-21496AF0E06F}" srcOrd="0" destOrd="0" presId="urn:microsoft.com/office/officeart/2008/layout/HalfCircleOrganizationChart"/>
    <dgm:cxn modelId="{20F8B78C-0C77-4BD6-88F9-E6C3532139A6}" type="presParOf" srcId="{AE93E942-E65D-4471-911A-BF52EC785A9D}" destId="{18426A53-18A6-4468-B7C7-C418C8149A58}" srcOrd="1" destOrd="0" presId="urn:microsoft.com/office/officeart/2008/layout/HalfCircleOrganizationChart"/>
    <dgm:cxn modelId="{A5A2C4D9-61E1-44B7-A47E-22EA50AF65C6}" type="presParOf" srcId="{AE93E942-E65D-4471-911A-BF52EC785A9D}" destId="{BE44BB37-E182-498C-A658-DE4AC2F5C978}" srcOrd="2" destOrd="0" presId="urn:microsoft.com/office/officeart/2008/layout/HalfCircleOrganizationChart"/>
    <dgm:cxn modelId="{61877A08-F77A-409F-B186-72C2CB309A8C}" type="presParOf" srcId="{AE93E942-E65D-4471-911A-BF52EC785A9D}" destId="{E1086538-C7C8-4E61-BD0B-8D5562E8A415}" srcOrd="3" destOrd="0" presId="urn:microsoft.com/office/officeart/2008/layout/HalfCircleOrganizationChart"/>
    <dgm:cxn modelId="{F97D5DE6-2898-4952-A3D3-D257D5EA751A}" type="presParOf" srcId="{3213F41B-421A-4A4F-BE89-438BF0AF12B7}" destId="{B2184668-AB72-4216-9612-0FA6A55BA9C3}" srcOrd="1" destOrd="0" presId="urn:microsoft.com/office/officeart/2008/layout/HalfCircleOrganizationChart"/>
    <dgm:cxn modelId="{01B2B0EB-BF5A-4FB0-8281-DC082C337308}" type="presParOf" srcId="{B2184668-AB72-4216-9612-0FA6A55BA9C3}" destId="{870222C8-0F14-4A41-8058-77E7BBA2DEF1}" srcOrd="0" destOrd="0" presId="urn:microsoft.com/office/officeart/2008/layout/HalfCircleOrganizationChart"/>
    <dgm:cxn modelId="{9749ED1F-C8BB-4818-84E6-B1ACDBDDB1A1}" type="presParOf" srcId="{B2184668-AB72-4216-9612-0FA6A55BA9C3}" destId="{1AAF63A6-55F2-489A-B8A1-AA0A8F8A5DFC}" srcOrd="1" destOrd="0" presId="urn:microsoft.com/office/officeart/2008/layout/HalfCircleOrganizationChart"/>
    <dgm:cxn modelId="{F1D1CFAA-ED7E-4D61-AEC7-8BDC987E7039}" type="presParOf" srcId="{1AAF63A6-55F2-489A-B8A1-AA0A8F8A5DFC}" destId="{3764EF40-86A3-4427-899A-62A96DE71F0B}" srcOrd="0" destOrd="0" presId="urn:microsoft.com/office/officeart/2008/layout/HalfCircleOrganizationChart"/>
    <dgm:cxn modelId="{BABC8E70-8C82-40D0-AB4B-B93C2DA19CE8}" type="presParOf" srcId="{3764EF40-86A3-4427-899A-62A96DE71F0B}" destId="{3D2046DE-E241-4796-A0AE-40986BECF875}" srcOrd="0" destOrd="0" presId="urn:microsoft.com/office/officeart/2008/layout/HalfCircleOrganizationChart"/>
    <dgm:cxn modelId="{7645009B-6A3F-438A-ADFB-D98BDE5A99B2}" type="presParOf" srcId="{3764EF40-86A3-4427-899A-62A96DE71F0B}" destId="{F4DFFF0D-AE9D-4AED-BE2F-314588CAD31E}" srcOrd="1" destOrd="0" presId="urn:microsoft.com/office/officeart/2008/layout/HalfCircleOrganizationChart"/>
    <dgm:cxn modelId="{D51F974E-37EA-4915-99B1-D33F6BED0783}" type="presParOf" srcId="{3764EF40-86A3-4427-899A-62A96DE71F0B}" destId="{C01E4A10-1F64-457B-987F-86D9FB8C1600}" srcOrd="2" destOrd="0" presId="urn:microsoft.com/office/officeart/2008/layout/HalfCircleOrganizationChart"/>
    <dgm:cxn modelId="{B26A80B3-F8C7-43C5-AD0E-9F6AB6E21AF8}" type="presParOf" srcId="{3764EF40-86A3-4427-899A-62A96DE71F0B}" destId="{EAA89570-3E07-4886-838C-2D2E740E658E}" srcOrd="3" destOrd="0" presId="urn:microsoft.com/office/officeart/2008/layout/HalfCircleOrganizationChart"/>
    <dgm:cxn modelId="{69B36375-2D59-4997-AD6A-D2533674605F}" type="presParOf" srcId="{1AAF63A6-55F2-489A-B8A1-AA0A8F8A5DFC}" destId="{EDFCC010-C730-43AD-91D1-142979EB1FD0}" srcOrd="1" destOrd="0" presId="urn:microsoft.com/office/officeart/2008/layout/HalfCircleOrganizationChart"/>
    <dgm:cxn modelId="{B3353687-3E16-4FF6-8262-E22E0E0B53EC}" type="presParOf" srcId="{1AAF63A6-55F2-489A-B8A1-AA0A8F8A5DFC}" destId="{8DC48E7E-345D-4A45-9885-FAA84DE1214E}" srcOrd="2" destOrd="0" presId="urn:microsoft.com/office/officeart/2008/layout/HalfCircleOrganizationChart"/>
    <dgm:cxn modelId="{05153EF7-D056-4691-9CE5-D8B48E7D46AA}" type="presParOf" srcId="{B2184668-AB72-4216-9612-0FA6A55BA9C3}" destId="{F0ABC8FE-B6B2-4E9E-B6D6-FD34D5490060}" srcOrd="2" destOrd="0" presId="urn:microsoft.com/office/officeart/2008/layout/HalfCircleOrganizationChart"/>
    <dgm:cxn modelId="{01F50594-2EC6-4EFD-8101-91BBEC164592}" type="presParOf" srcId="{B2184668-AB72-4216-9612-0FA6A55BA9C3}" destId="{26BA6929-3539-490E-B6E4-0B40BEAB6471}" srcOrd="3" destOrd="0" presId="urn:microsoft.com/office/officeart/2008/layout/HalfCircleOrganizationChart"/>
    <dgm:cxn modelId="{09AA75A1-0C2E-4498-BEA7-07301961B0C8}" type="presParOf" srcId="{26BA6929-3539-490E-B6E4-0B40BEAB6471}" destId="{5460B917-3DD4-42CD-9244-52C31FBA31A2}" srcOrd="0" destOrd="0" presId="urn:microsoft.com/office/officeart/2008/layout/HalfCircleOrganizationChart"/>
    <dgm:cxn modelId="{1BCAE059-A99E-46C4-BCB7-DB0051217A90}" type="presParOf" srcId="{5460B917-3DD4-42CD-9244-52C31FBA31A2}" destId="{DCA7B688-D80B-4849-88A0-DBC762A5BB96}" srcOrd="0" destOrd="0" presId="urn:microsoft.com/office/officeart/2008/layout/HalfCircleOrganizationChart"/>
    <dgm:cxn modelId="{592318E3-9AF4-4CA7-A062-568416B0C5B7}" type="presParOf" srcId="{5460B917-3DD4-42CD-9244-52C31FBA31A2}" destId="{6635796E-4650-4B3A-856F-E7300EAF59AD}" srcOrd="1" destOrd="0" presId="urn:microsoft.com/office/officeart/2008/layout/HalfCircleOrganizationChart"/>
    <dgm:cxn modelId="{E45113B3-F74E-4480-A304-373CD8D88280}" type="presParOf" srcId="{5460B917-3DD4-42CD-9244-52C31FBA31A2}" destId="{917576F5-2C2E-4375-8D81-3FDAF8709F6C}" srcOrd="2" destOrd="0" presId="urn:microsoft.com/office/officeart/2008/layout/HalfCircleOrganizationChart"/>
    <dgm:cxn modelId="{476B2273-CF77-44E8-9573-93A4C19E9509}" type="presParOf" srcId="{5460B917-3DD4-42CD-9244-52C31FBA31A2}" destId="{51E74322-5EDB-47D4-9246-953ACB700C1B}" srcOrd="3" destOrd="0" presId="urn:microsoft.com/office/officeart/2008/layout/HalfCircleOrganizationChart"/>
    <dgm:cxn modelId="{BAD06337-2CC0-4F76-BEE4-85136E7E4508}" type="presParOf" srcId="{26BA6929-3539-490E-B6E4-0B40BEAB6471}" destId="{2126FE3E-D0A6-4449-B585-883290ECE91B}" srcOrd="1" destOrd="0" presId="urn:microsoft.com/office/officeart/2008/layout/HalfCircleOrganizationChart"/>
    <dgm:cxn modelId="{C7A20DBA-4D5F-42B3-9B35-18CD11BB709C}" type="presParOf" srcId="{26BA6929-3539-490E-B6E4-0B40BEAB6471}" destId="{0590AEF7-A47E-435A-8639-5AC0059EE9CB}" srcOrd="2" destOrd="0" presId="urn:microsoft.com/office/officeart/2008/layout/HalfCircleOrganizationChart"/>
    <dgm:cxn modelId="{C1F85AD0-7745-4ED8-8F18-6FFA3805FDDD}" type="presParOf" srcId="{B2184668-AB72-4216-9612-0FA6A55BA9C3}" destId="{511DD409-F2FE-4206-AAB4-79AF4E71A176}" srcOrd="4" destOrd="0" presId="urn:microsoft.com/office/officeart/2008/layout/HalfCircleOrganizationChart"/>
    <dgm:cxn modelId="{F19F9141-3068-43DC-AEFB-70D46A7ACC2D}" type="presParOf" srcId="{B2184668-AB72-4216-9612-0FA6A55BA9C3}" destId="{96E8D37B-3539-444F-B92C-598CC77E3486}" srcOrd="5" destOrd="0" presId="urn:microsoft.com/office/officeart/2008/layout/HalfCircleOrganizationChart"/>
    <dgm:cxn modelId="{8CB3D6EB-1799-4C85-A496-0B4AE8C0D96D}" type="presParOf" srcId="{96E8D37B-3539-444F-B92C-598CC77E3486}" destId="{E41305F1-72FE-4C7E-8670-CA68E013BE8C}" srcOrd="0" destOrd="0" presId="urn:microsoft.com/office/officeart/2008/layout/HalfCircleOrganizationChart"/>
    <dgm:cxn modelId="{D7076A47-5B00-43E6-ADDA-FA55768DBD2B}" type="presParOf" srcId="{E41305F1-72FE-4C7E-8670-CA68E013BE8C}" destId="{C7CFE54E-10EC-4E73-8067-070122947BA0}" srcOrd="0" destOrd="0" presId="urn:microsoft.com/office/officeart/2008/layout/HalfCircleOrganizationChart"/>
    <dgm:cxn modelId="{215D950A-DEFD-4B2C-9BD5-6F61D55DAC40}" type="presParOf" srcId="{E41305F1-72FE-4C7E-8670-CA68E013BE8C}" destId="{E1720798-1799-4D5F-B77B-E0B2804855CD}" srcOrd="1" destOrd="0" presId="urn:microsoft.com/office/officeart/2008/layout/HalfCircleOrganizationChart"/>
    <dgm:cxn modelId="{39FFA45B-44B6-4F51-B1C1-1E20977BD257}" type="presParOf" srcId="{E41305F1-72FE-4C7E-8670-CA68E013BE8C}" destId="{87D027C5-A72A-4432-951F-126A58FEDF3A}" srcOrd="2" destOrd="0" presId="urn:microsoft.com/office/officeart/2008/layout/HalfCircleOrganizationChart"/>
    <dgm:cxn modelId="{F994926F-F952-4312-BA66-884702955C67}" type="presParOf" srcId="{E41305F1-72FE-4C7E-8670-CA68E013BE8C}" destId="{F0A07340-DBE6-4E89-AA43-C65F676438DD}" srcOrd="3" destOrd="0" presId="urn:microsoft.com/office/officeart/2008/layout/HalfCircleOrganizationChart"/>
    <dgm:cxn modelId="{F3D624E4-8B47-4449-963F-8CC90B37A98E}" type="presParOf" srcId="{96E8D37B-3539-444F-B92C-598CC77E3486}" destId="{4B12765B-A40C-4417-9CC4-13649B205E5C}" srcOrd="1" destOrd="0" presId="urn:microsoft.com/office/officeart/2008/layout/HalfCircleOrganizationChart"/>
    <dgm:cxn modelId="{D619BB4D-1F13-4B68-9738-5B757EE1AB27}" type="presParOf" srcId="{96E8D37B-3539-444F-B92C-598CC77E3486}" destId="{EED640BA-0CDF-4ED1-A215-D48BBBAED870}" srcOrd="2" destOrd="0" presId="urn:microsoft.com/office/officeart/2008/layout/HalfCircleOrganizationChart"/>
    <dgm:cxn modelId="{A4A4419C-3138-462C-9EF3-1123AB803EDE}" type="presParOf" srcId="{3213F41B-421A-4A4F-BE89-438BF0AF12B7}" destId="{ED5FFDEE-60FB-4A4D-B40F-D1A10E17DA79}" srcOrd="2" destOrd="0" presId="urn:microsoft.com/office/officeart/2008/layout/HalfCircleOrganizationChart"/>
    <dgm:cxn modelId="{AC4B405E-8386-4FF4-88EB-4CE526BD7A27}" type="presParOf" srcId="{0FC70C9D-14C5-4A26-8D0D-FA425CD6F661}" destId="{8B12A1FE-C343-4937-81F5-8E080B79A21D}" srcOrd="2" destOrd="0" presId="urn:microsoft.com/office/officeart/2008/layout/HalfCircleOrganizationChart"/>
    <dgm:cxn modelId="{28C59F30-2380-4446-A66C-D83AC243DDDF}" type="presParOf" srcId="{0FC70C9D-14C5-4A26-8D0D-FA425CD6F661}" destId="{2362F668-57C8-4436-B6CA-66390A8EE657}" srcOrd="3" destOrd="0" presId="urn:microsoft.com/office/officeart/2008/layout/HalfCircleOrganizationChart"/>
    <dgm:cxn modelId="{7A5E354E-32A5-4E66-B08F-E613781F7AFC}" type="presParOf" srcId="{2362F668-57C8-4436-B6CA-66390A8EE657}" destId="{989346DD-139A-4284-88FA-0F09BEAD10B8}" srcOrd="0" destOrd="0" presId="urn:microsoft.com/office/officeart/2008/layout/HalfCircleOrganizationChart"/>
    <dgm:cxn modelId="{1E143F15-147D-498A-A7E9-A3B1E9E30705}" type="presParOf" srcId="{989346DD-139A-4284-88FA-0F09BEAD10B8}" destId="{4574AFA3-14FD-45FC-9DAB-4CB0819C6741}" srcOrd="0" destOrd="0" presId="urn:microsoft.com/office/officeart/2008/layout/HalfCircleOrganizationChart"/>
    <dgm:cxn modelId="{7FDFFD1F-E437-4DD3-BB9D-B6FDAF9ACDE6}" type="presParOf" srcId="{989346DD-139A-4284-88FA-0F09BEAD10B8}" destId="{7223C71C-F31B-4CB2-94FF-BD84EF9114BC}" srcOrd="1" destOrd="0" presId="urn:microsoft.com/office/officeart/2008/layout/HalfCircleOrganizationChart"/>
    <dgm:cxn modelId="{A8680418-70FF-4057-A79A-CAF670C660AA}" type="presParOf" srcId="{989346DD-139A-4284-88FA-0F09BEAD10B8}" destId="{2568149B-D81D-4FDC-8390-0501304D6367}" srcOrd="2" destOrd="0" presId="urn:microsoft.com/office/officeart/2008/layout/HalfCircleOrganizationChart"/>
    <dgm:cxn modelId="{5496F0C1-2AEE-4670-A157-6FE2AB11F7C3}" type="presParOf" srcId="{989346DD-139A-4284-88FA-0F09BEAD10B8}" destId="{20657831-520E-44E8-A4E7-D396DB11EF6B}" srcOrd="3" destOrd="0" presId="urn:microsoft.com/office/officeart/2008/layout/HalfCircleOrganizationChart"/>
    <dgm:cxn modelId="{3DC62A0F-0A8E-46F2-9294-3C9DE0C14EA7}" type="presParOf" srcId="{2362F668-57C8-4436-B6CA-66390A8EE657}" destId="{930F8DD1-286C-4B1B-A689-39803FECC915}" srcOrd="1" destOrd="0" presId="urn:microsoft.com/office/officeart/2008/layout/HalfCircleOrganizationChart"/>
    <dgm:cxn modelId="{62643E65-1B1A-4E87-8C1B-DEA23DB7EA87}" type="presParOf" srcId="{930F8DD1-286C-4B1B-A689-39803FECC915}" destId="{2CB9EE73-804C-4515-99F7-192C9F37A08B}" srcOrd="0" destOrd="0" presId="urn:microsoft.com/office/officeart/2008/layout/HalfCircleOrganizationChart"/>
    <dgm:cxn modelId="{44489FF1-081F-420F-9441-BAA8493D1188}" type="presParOf" srcId="{930F8DD1-286C-4B1B-A689-39803FECC915}" destId="{0FDBF669-0892-41D3-9338-1B26A1EC3F53}" srcOrd="1" destOrd="0" presId="urn:microsoft.com/office/officeart/2008/layout/HalfCircleOrganizationChart"/>
    <dgm:cxn modelId="{67DBAC76-F787-4583-9B6D-5C540261FC12}" type="presParOf" srcId="{0FDBF669-0892-41D3-9338-1B26A1EC3F53}" destId="{E9F0D949-DE9F-46CA-863A-615969D2D6E0}" srcOrd="0" destOrd="0" presId="urn:microsoft.com/office/officeart/2008/layout/HalfCircleOrganizationChart"/>
    <dgm:cxn modelId="{749B7EB9-AFEC-4246-8377-2218CEE03A9B}" type="presParOf" srcId="{E9F0D949-DE9F-46CA-863A-615969D2D6E0}" destId="{79C4F435-E489-4284-B769-0745AC60AB50}" srcOrd="0" destOrd="0" presId="urn:microsoft.com/office/officeart/2008/layout/HalfCircleOrganizationChart"/>
    <dgm:cxn modelId="{6490A066-5953-443D-A8B2-105C1BCB36EF}" type="presParOf" srcId="{E9F0D949-DE9F-46CA-863A-615969D2D6E0}" destId="{16378FFA-F81A-41F1-A174-43311673CD4D}" srcOrd="1" destOrd="0" presId="urn:microsoft.com/office/officeart/2008/layout/HalfCircleOrganizationChart"/>
    <dgm:cxn modelId="{23C69BB9-50B1-44CC-B7B7-295E49F66C85}" type="presParOf" srcId="{E9F0D949-DE9F-46CA-863A-615969D2D6E0}" destId="{F6B11F10-CE3C-439D-9719-1280FB153B1A}" srcOrd="2" destOrd="0" presId="urn:microsoft.com/office/officeart/2008/layout/HalfCircleOrganizationChart"/>
    <dgm:cxn modelId="{FAF764BC-8A22-4BA3-87D2-A26FED11DEC9}" type="presParOf" srcId="{E9F0D949-DE9F-46CA-863A-615969D2D6E0}" destId="{064242DA-7567-49EC-92AC-92670F49D6A4}" srcOrd="3" destOrd="0" presId="urn:microsoft.com/office/officeart/2008/layout/HalfCircleOrganizationChart"/>
    <dgm:cxn modelId="{6D13F8FB-E541-49B8-8D5A-6325E9A1D75E}" type="presParOf" srcId="{0FDBF669-0892-41D3-9338-1B26A1EC3F53}" destId="{15B00031-4FE5-49D4-871C-35BBEFF9BA37}" srcOrd="1" destOrd="0" presId="urn:microsoft.com/office/officeart/2008/layout/HalfCircleOrganizationChart"/>
    <dgm:cxn modelId="{AF0B0831-C159-4049-B903-F4F83970E89C}" type="presParOf" srcId="{0FDBF669-0892-41D3-9338-1B26A1EC3F53}" destId="{A407EA21-ACDB-48BA-85C0-B94C9DE4B57E}" srcOrd="2" destOrd="0" presId="urn:microsoft.com/office/officeart/2008/layout/HalfCircleOrganizationChart"/>
    <dgm:cxn modelId="{6EEE0E80-58E0-450A-A26C-19BD08BF686D}" type="presParOf" srcId="{2362F668-57C8-4436-B6CA-66390A8EE657}" destId="{7738319E-8036-46E4-BB3E-67489ADA9C0B}" srcOrd="2" destOrd="0" presId="urn:microsoft.com/office/officeart/2008/layout/HalfCircleOrganizationChart"/>
    <dgm:cxn modelId="{C6BBF08F-0ECE-4F05-BCD3-DE23E60A3879}" type="presParOf" srcId="{0FC70C9D-14C5-4A26-8D0D-FA425CD6F661}" destId="{D3268750-7545-4F02-B89C-43EAF85321A9}" srcOrd="4" destOrd="0" presId="urn:microsoft.com/office/officeart/2008/layout/HalfCircleOrganizationChart"/>
    <dgm:cxn modelId="{C2CC1ACE-1FB9-4286-BCB0-A4597D2ACD65}" type="presParOf" srcId="{0FC70C9D-14C5-4A26-8D0D-FA425CD6F661}" destId="{9D34C50E-CF39-47AC-AFBF-1E1D86CC955A}" srcOrd="5" destOrd="0" presId="urn:microsoft.com/office/officeart/2008/layout/HalfCircleOrganizationChart"/>
    <dgm:cxn modelId="{FAD2F444-F8C0-45FA-86FF-054893539F29}" type="presParOf" srcId="{9D34C50E-CF39-47AC-AFBF-1E1D86CC955A}" destId="{2EFF8CAE-C3EA-4CBA-9C74-D24848A7F72C}" srcOrd="0" destOrd="0" presId="urn:microsoft.com/office/officeart/2008/layout/HalfCircleOrganizationChart"/>
    <dgm:cxn modelId="{43D33285-D31E-4AD9-B0AB-A36ACA7B6D45}" type="presParOf" srcId="{2EFF8CAE-C3EA-4CBA-9C74-D24848A7F72C}" destId="{4BCDDD1E-0D5A-4074-AE19-68023275F24C}" srcOrd="0" destOrd="0" presId="urn:microsoft.com/office/officeart/2008/layout/HalfCircleOrganizationChart"/>
    <dgm:cxn modelId="{E33F91AE-F34F-4DE0-92A4-E9A3481EAA3B}" type="presParOf" srcId="{2EFF8CAE-C3EA-4CBA-9C74-D24848A7F72C}" destId="{97E31FF0-BADC-4A72-81E9-A3ED99F74BBB}" srcOrd="1" destOrd="0" presId="urn:microsoft.com/office/officeart/2008/layout/HalfCircleOrganizationChart"/>
    <dgm:cxn modelId="{7268013C-CD87-451A-B367-EF0C7C0B0D9B}" type="presParOf" srcId="{2EFF8CAE-C3EA-4CBA-9C74-D24848A7F72C}" destId="{1CA89E6A-0F9F-4299-919F-EBFF3D9A2443}" srcOrd="2" destOrd="0" presId="urn:microsoft.com/office/officeart/2008/layout/HalfCircleOrganizationChart"/>
    <dgm:cxn modelId="{7715BC0D-AC1C-444A-9273-3763B96397A8}" type="presParOf" srcId="{2EFF8CAE-C3EA-4CBA-9C74-D24848A7F72C}" destId="{E4D845B8-58BD-47C6-BDC2-3E522452C645}" srcOrd="3" destOrd="0" presId="urn:microsoft.com/office/officeart/2008/layout/HalfCircleOrganizationChart"/>
    <dgm:cxn modelId="{EA330F7F-6222-40F1-9259-BC3070EB03C3}" type="presParOf" srcId="{9D34C50E-CF39-47AC-AFBF-1E1D86CC955A}" destId="{8E3F2562-23F6-42CA-A86A-2113B2F75F9F}" srcOrd="1" destOrd="0" presId="urn:microsoft.com/office/officeart/2008/layout/HalfCircleOrganizationChart"/>
    <dgm:cxn modelId="{17D125FD-C76D-4C76-B6CF-B157CC2B61BB}" type="presParOf" srcId="{8E3F2562-23F6-42CA-A86A-2113B2F75F9F}" destId="{00821523-0A0E-4AF9-8DC6-CF5C071A13CF}" srcOrd="0" destOrd="0" presId="urn:microsoft.com/office/officeart/2008/layout/HalfCircleOrganizationChart"/>
    <dgm:cxn modelId="{ABC23762-6D4B-4731-9E70-366B60A75982}" type="presParOf" srcId="{8E3F2562-23F6-42CA-A86A-2113B2F75F9F}" destId="{00F03978-523B-4964-A43E-620C734B9337}" srcOrd="1" destOrd="0" presId="urn:microsoft.com/office/officeart/2008/layout/HalfCircleOrganizationChart"/>
    <dgm:cxn modelId="{F6A3DF63-E584-499C-A9B7-DEC9E08922B8}" type="presParOf" srcId="{00F03978-523B-4964-A43E-620C734B9337}" destId="{B64DDFA5-ABED-4D3C-BD38-AE26975673B1}" srcOrd="0" destOrd="0" presId="urn:microsoft.com/office/officeart/2008/layout/HalfCircleOrganizationChart"/>
    <dgm:cxn modelId="{65EED80D-7E27-48E5-9FDD-78104FD05D3B}" type="presParOf" srcId="{B64DDFA5-ABED-4D3C-BD38-AE26975673B1}" destId="{5D02CD8A-7F71-482A-8B38-8B8980F8B64D}" srcOrd="0" destOrd="0" presId="urn:microsoft.com/office/officeart/2008/layout/HalfCircleOrganizationChart"/>
    <dgm:cxn modelId="{494674F0-F503-4C69-9B41-913813FE590A}" type="presParOf" srcId="{B64DDFA5-ABED-4D3C-BD38-AE26975673B1}" destId="{77EBC645-B794-4D7B-8DC9-46AB2A9F7CA7}" srcOrd="1" destOrd="0" presId="urn:microsoft.com/office/officeart/2008/layout/HalfCircleOrganizationChart"/>
    <dgm:cxn modelId="{77AF0129-B53A-4372-B7BF-518E163D9D05}" type="presParOf" srcId="{B64DDFA5-ABED-4D3C-BD38-AE26975673B1}" destId="{6FA5B227-4FA0-4496-B388-D01DD79D96A8}" srcOrd="2" destOrd="0" presId="urn:microsoft.com/office/officeart/2008/layout/HalfCircleOrganizationChart"/>
    <dgm:cxn modelId="{B611188B-2CA2-446F-BAB1-139B2B7C7BF6}" type="presParOf" srcId="{B64DDFA5-ABED-4D3C-BD38-AE26975673B1}" destId="{75234E4E-E490-4AB5-81C0-E6D64B3CAC80}" srcOrd="3" destOrd="0" presId="urn:microsoft.com/office/officeart/2008/layout/HalfCircleOrganizationChart"/>
    <dgm:cxn modelId="{E233E3A1-1852-4C60-B9C7-BF5DBBFCDA38}" type="presParOf" srcId="{00F03978-523B-4964-A43E-620C734B9337}" destId="{1AF816F0-F7B8-499E-9149-4F959E46EDD6}" srcOrd="1" destOrd="0" presId="urn:microsoft.com/office/officeart/2008/layout/HalfCircleOrganizationChart"/>
    <dgm:cxn modelId="{6B9B4FD5-8FC1-4B51-A047-17A6C8E6A264}" type="presParOf" srcId="{00F03978-523B-4964-A43E-620C734B9337}" destId="{F6915D63-DEF4-4B11-A3EA-FC682042A16C}" srcOrd="2" destOrd="0" presId="urn:microsoft.com/office/officeart/2008/layout/HalfCircleOrganizationChart"/>
    <dgm:cxn modelId="{8FB9001F-82A5-4A63-93EF-C324B288720B}" type="presParOf" srcId="{9D34C50E-CF39-47AC-AFBF-1E1D86CC955A}" destId="{8065C485-C9FB-4F6A-9E39-925ABD2A4274}" srcOrd="2" destOrd="0" presId="urn:microsoft.com/office/officeart/2008/layout/HalfCircleOrganizationChart"/>
    <dgm:cxn modelId="{5298CE14-3F7A-4F75-96EC-0491F10BC3B4}" type="presParOf" srcId="{0FC70C9D-14C5-4A26-8D0D-FA425CD6F661}" destId="{A1DFAD72-2AE1-41A8-9839-A78BB0D81EBD}" srcOrd="6" destOrd="0" presId="urn:microsoft.com/office/officeart/2008/layout/HalfCircleOrganizationChart"/>
    <dgm:cxn modelId="{26949264-2497-456B-9F0F-4265D0B84645}" type="presParOf" srcId="{0FC70C9D-14C5-4A26-8D0D-FA425CD6F661}" destId="{6120954F-A562-407B-B55E-5FE576938418}" srcOrd="7" destOrd="0" presId="urn:microsoft.com/office/officeart/2008/layout/HalfCircleOrganizationChart"/>
    <dgm:cxn modelId="{F57C1B1D-4240-4A4D-AE65-CAD1E69C40A1}" type="presParOf" srcId="{6120954F-A562-407B-B55E-5FE576938418}" destId="{1C977B68-C688-46AF-9E92-40321D2FF8A5}" srcOrd="0" destOrd="0" presId="urn:microsoft.com/office/officeart/2008/layout/HalfCircleOrganizationChart"/>
    <dgm:cxn modelId="{87E4582B-F3F9-466C-AB94-7ADAC97D44C6}" type="presParOf" srcId="{1C977B68-C688-46AF-9E92-40321D2FF8A5}" destId="{7CD2934F-9993-455C-80FC-D6D1AF638DDB}" srcOrd="0" destOrd="0" presId="urn:microsoft.com/office/officeart/2008/layout/HalfCircleOrganizationChart"/>
    <dgm:cxn modelId="{F0873D07-12E3-486B-81B7-BB0B97F00785}" type="presParOf" srcId="{1C977B68-C688-46AF-9E92-40321D2FF8A5}" destId="{F1BD8270-6C45-44DE-8A9A-67C727698D1B}" srcOrd="1" destOrd="0" presId="urn:microsoft.com/office/officeart/2008/layout/HalfCircleOrganizationChart"/>
    <dgm:cxn modelId="{20527428-850F-48BB-ADD2-A6180EA5AF16}" type="presParOf" srcId="{1C977B68-C688-46AF-9E92-40321D2FF8A5}" destId="{7982BF51-A7D0-47ED-B893-99C93713FB82}" srcOrd="2" destOrd="0" presId="urn:microsoft.com/office/officeart/2008/layout/HalfCircleOrganizationChart"/>
    <dgm:cxn modelId="{48E08410-F579-4485-A3F5-39D2A56E8854}" type="presParOf" srcId="{1C977B68-C688-46AF-9E92-40321D2FF8A5}" destId="{5CB78B71-6E1C-4ADD-B6EB-C6E870860A7F}" srcOrd="3" destOrd="0" presId="urn:microsoft.com/office/officeart/2008/layout/HalfCircleOrganizationChart"/>
    <dgm:cxn modelId="{2BA7BC02-D5CD-4A09-8BA4-CA75424D25D7}" type="presParOf" srcId="{6120954F-A562-407B-B55E-5FE576938418}" destId="{23F1E9AE-D689-4F60-A6A2-AE61B1A624AF}" srcOrd="1" destOrd="0" presId="urn:microsoft.com/office/officeart/2008/layout/HalfCircleOrganizationChart"/>
    <dgm:cxn modelId="{EE501718-6E16-49FF-BC46-2502A73F0A9F}" type="presParOf" srcId="{23F1E9AE-D689-4F60-A6A2-AE61B1A624AF}" destId="{165CEDC3-3BA0-48D0-A272-FF1BE93A106E}" srcOrd="0" destOrd="0" presId="urn:microsoft.com/office/officeart/2008/layout/HalfCircleOrganizationChart"/>
    <dgm:cxn modelId="{5F9E7488-42E7-488A-AD10-297FDA277959}" type="presParOf" srcId="{23F1E9AE-D689-4F60-A6A2-AE61B1A624AF}" destId="{1D8C4335-9FBD-465B-B33B-BA1BDD8B7B7E}" srcOrd="1" destOrd="0" presId="urn:microsoft.com/office/officeart/2008/layout/HalfCircleOrganizationChart"/>
    <dgm:cxn modelId="{7574F6E9-A35C-4FE5-BC35-6F5AF9345638}" type="presParOf" srcId="{1D8C4335-9FBD-465B-B33B-BA1BDD8B7B7E}" destId="{DCFB2B3A-1D0F-4618-B0E7-03FE953A8296}" srcOrd="0" destOrd="0" presId="urn:microsoft.com/office/officeart/2008/layout/HalfCircleOrganizationChart"/>
    <dgm:cxn modelId="{E865D630-CA4A-47D8-9028-A9DAC17BFF7E}" type="presParOf" srcId="{DCFB2B3A-1D0F-4618-B0E7-03FE953A8296}" destId="{B3C49D7B-D231-4BDF-AE6C-439CD73AABE9}" srcOrd="0" destOrd="0" presId="urn:microsoft.com/office/officeart/2008/layout/HalfCircleOrganizationChart"/>
    <dgm:cxn modelId="{82D7B013-5893-487A-9485-BFFF3876412A}" type="presParOf" srcId="{DCFB2B3A-1D0F-4618-B0E7-03FE953A8296}" destId="{8797A065-45A7-4C69-92D3-B427935F7ED5}" srcOrd="1" destOrd="0" presId="urn:microsoft.com/office/officeart/2008/layout/HalfCircleOrganizationChart"/>
    <dgm:cxn modelId="{65E75B21-578E-45F6-8639-D9CC6EC630AC}" type="presParOf" srcId="{DCFB2B3A-1D0F-4618-B0E7-03FE953A8296}" destId="{B651F6EF-0F95-4FC6-A0E3-1EECFC1B87BF}" srcOrd="2" destOrd="0" presId="urn:microsoft.com/office/officeart/2008/layout/HalfCircleOrganizationChart"/>
    <dgm:cxn modelId="{15FF8FA7-86AD-4F0E-91C3-7DDF2061F56E}" type="presParOf" srcId="{DCFB2B3A-1D0F-4618-B0E7-03FE953A8296}" destId="{5A2E9CDB-2006-41C0-9784-B6086DAD2024}" srcOrd="3" destOrd="0" presId="urn:microsoft.com/office/officeart/2008/layout/HalfCircleOrganizationChart"/>
    <dgm:cxn modelId="{A05DA179-A718-4D3B-89DA-5A90AC692FED}" type="presParOf" srcId="{1D8C4335-9FBD-465B-B33B-BA1BDD8B7B7E}" destId="{D7584FC0-8B2D-4B72-9B8D-34FA23FB68E5}" srcOrd="1" destOrd="0" presId="urn:microsoft.com/office/officeart/2008/layout/HalfCircleOrganizationChart"/>
    <dgm:cxn modelId="{736956A4-62A1-441A-87A2-D55B8C6A5BF6}" type="presParOf" srcId="{1D8C4335-9FBD-465B-B33B-BA1BDD8B7B7E}" destId="{E1B5E56C-B480-414B-BBA0-0BDC4DEA3991}" srcOrd="2" destOrd="0" presId="urn:microsoft.com/office/officeart/2008/layout/HalfCircleOrganizationChart"/>
    <dgm:cxn modelId="{2CBC4488-800C-45BD-81EE-DBD784F155EC}" type="presParOf" srcId="{6120954F-A562-407B-B55E-5FE576938418}" destId="{E054C1C1-2558-4594-A66E-632EA9ACA1F4}" srcOrd="2" destOrd="0" presId="urn:microsoft.com/office/officeart/2008/layout/HalfCircleOrganizationChart"/>
    <dgm:cxn modelId="{DDD2A4F2-45A6-4A8B-A534-D975F67BE0E6}" type="presParOf" srcId="{35891063-D4AB-441B-86C1-EA833626547B}" destId="{357B15DB-4FD9-4C4E-A769-A0EE369E637D}" srcOrd="2" destOrd="0" presId="urn:microsoft.com/office/officeart/2008/layout/HalfCircle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E8876D5-9D64-4B69-8CC1-14C88A7EB1A9}" type="doc">
      <dgm:prSet loTypeId="urn:microsoft.com/office/officeart/2005/8/layout/hierarchy5" loCatId="hierarchy" qsTypeId="urn:microsoft.com/office/officeart/2005/8/quickstyle/simple1" qsCatId="simple" csTypeId="urn:microsoft.com/office/officeart/2005/8/colors/accent1_2" csCatId="accent1" phldr="1"/>
      <dgm:spPr/>
      <dgm:t>
        <a:bodyPr/>
        <a:lstStyle/>
        <a:p>
          <a:endParaRPr lang="en-US"/>
        </a:p>
      </dgm:t>
    </dgm:pt>
    <dgm:pt modelId="{67428EA9-7D82-4BBC-93A8-2196EFB622D7}">
      <dgm:prSet phldrT="[Text]" custT="1"/>
      <dgm:spPr/>
      <dgm:t>
        <a:bodyPr/>
        <a:lstStyle/>
        <a:p>
          <a:r>
            <a:rPr lang="en-US" sz="1100" dirty="0"/>
            <a:t>ADE</a:t>
          </a:r>
        </a:p>
      </dgm:t>
    </dgm:pt>
    <dgm:pt modelId="{299D73CA-0B7E-4940-9793-CA31E84E8046}" type="parTrans" cxnId="{7C1F1027-D30A-4800-AE76-04727572303B}">
      <dgm:prSet/>
      <dgm:spPr/>
      <dgm:t>
        <a:bodyPr/>
        <a:lstStyle/>
        <a:p>
          <a:endParaRPr lang="en-US" sz="1100"/>
        </a:p>
      </dgm:t>
    </dgm:pt>
    <dgm:pt modelId="{13B34DDD-785A-4345-9B3A-0CCF04704BDB}" type="sibTrans" cxnId="{7C1F1027-D30A-4800-AE76-04727572303B}">
      <dgm:prSet/>
      <dgm:spPr/>
      <dgm:t>
        <a:bodyPr/>
        <a:lstStyle/>
        <a:p>
          <a:endParaRPr lang="en-US" sz="1100"/>
        </a:p>
      </dgm:t>
    </dgm:pt>
    <dgm:pt modelId="{3353FCFD-2ECF-4D4E-BB3B-0F630A3CD3FE}">
      <dgm:prSet phldrT="[Text]" custT="1"/>
      <dgm:spPr/>
      <dgm:t>
        <a:bodyPr/>
        <a:lstStyle/>
        <a:p>
          <a:r>
            <a:rPr lang="en-US" sz="1100" dirty="0"/>
            <a:t>ADS-1111</a:t>
          </a:r>
        </a:p>
      </dgm:t>
    </dgm:pt>
    <dgm:pt modelId="{656D1E3C-B4E2-4EEE-9F93-DA7B2A7EDDEB}" type="parTrans" cxnId="{388FAEFC-E150-4B30-AAA7-DB18BBB9A75A}">
      <dgm:prSet custT="1"/>
      <dgm:spPr/>
      <dgm:t>
        <a:bodyPr/>
        <a:lstStyle/>
        <a:p>
          <a:endParaRPr lang="en-US" sz="1100"/>
        </a:p>
      </dgm:t>
    </dgm:pt>
    <dgm:pt modelId="{E689882A-12D4-4CF1-A073-6A8420596362}" type="sibTrans" cxnId="{388FAEFC-E150-4B30-AAA7-DB18BBB9A75A}">
      <dgm:prSet/>
      <dgm:spPr/>
      <dgm:t>
        <a:bodyPr/>
        <a:lstStyle/>
        <a:p>
          <a:endParaRPr lang="en-US" sz="1100"/>
        </a:p>
      </dgm:t>
    </dgm:pt>
    <dgm:pt modelId="{5CAEA282-8C37-44AA-9A88-382637FAB50D}">
      <dgm:prSet phldrT="[Text]" custT="1"/>
      <dgm:spPr/>
      <dgm:t>
        <a:bodyPr/>
        <a:lstStyle/>
        <a:p>
          <a:r>
            <a:rPr lang="en-US" sz="1100" dirty="0"/>
            <a:t>Workspace</a:t>
          </a:r>
        </a:p>
      </dgm:t>
    </dgm:pt>
    <dgm:pt modelId="{776343E5-237D-462F-AFD2-A2A44A2EF414}" type="parTrans" cxnId="{140CC46C-807F-4474-A61F-3A5CD5CA0318}">
      <dgm:prSet custT="1"/>
      <dgm:spPr/>
      <dgm:t>
        <a:bodyPr/>
        <a:lstStyle/>
        <a:p>
          <a:endParaRPr lang="en-US" sz="1100"/>
        </a:p>
      </dgm:t>
    </dgm:pt>
    <dgm:pt modelId="{443A4C2F-582C-49E6-AD96-FBA3CFA7D53C}" type="sibTrans" cxnId="{140CC46C-807F-4474-A61F-3A5CD5CA0318}">
      <dgm:prSet/>
      <dgm:spPr/>
      <dgm:t>
        <a:bodyPr/>
        <a:lstStyle/>
        <a:p>
          <a:endParaRPr lang="en-US" sz="1100"/>
        </a:p>
      </dgm:t>
    </dgm:pt>
    <dgm:pt modelId="{A9A1C61C-45EA-40CF-9AC5-36E2C65AA4F2}">
      <dgm:prSet phldrT="[Text]" custT="1"/>
      <dgm:spPr/>
      <dgm:t>
        <a:bodyPr/>
        <a:lstStyle/>
        <a:p>
          <a:r>
            <a:rPr lang="en-US" sz="1100" dirty="0"/>
            <a:t>ADS-2222</a:t>
          </a:r>
        </a:p>
      </dgm:t>
    </dgm:pt>
    <dgm:pt modelId="{E637D32C-F2BA-4831-9441-BD41203C59BC}" type="parTrans" cxnId="{2C557F07-E23F-4296-ADA2-02CF392C0675}">
      <dgm:prSet custT="1"/>
      <dgm:spPr/>
      <dgm:t>
        <a:bodyPr/>
        <a:lstStyle/>
        <a:p>
          <a:endParaRPr lang="en-US" sz="1100"/>
        </a:p>
      </dgm:t>
    </dgm:pt>
    <dgm:pt modelId="{C8E384D5-12F7-4570-8F6C-70620E33E48F}" type="sibTrans" cxnId="{2C557F07-E23F-4296-ADA2-02CF392C0675}">
      <dgm:prSet/>
      <dgm:spPr/>
      <dgm:t>
        <a:bodyPr/>
        <a:lstStyle/>
        <a:p>
          <a:endParaRPr lang="en-US" sz="1100"/>
        </a:p>
      </dgm:t>
    </dgm:pt>
    <dgm:pt modelId="{7BBEAFFC-51F4-4342-BDDF-5D7D939A1EF7}">
      <dgm:prSet phldrT="[Text]" custT="1"/>
      <dgm:spPr/>
      <dgm:t>
        <a:bodyPr/>
        <a:lstStyle/>
        <a:p>
          <a:r>
            <a:rPr lang="en-US" sz="1100" dirty="0"/>
            <a:t>Workspace</a:t>
          </a:r>
        </a:p>
      </dgm:t>
    </dgm:pt>
    <dgm:pt modelId="{24FF5991-A563-4783-ACB6-58180716AADE}" type="parTrans" cxnId="{BCE17C51-1A5F-4FBB-BEDF-ECCACF2DF726}">
      <dgm:prSet custT="1"/>
      <dgm:spPr/>
      <dgm:t>
        <a:bodyPr/>
        <a:lstStyle/>
        <a:p>
          <a:endParaRPr lang="en-US" sz="1100"/>
        </a:p>
      </dgm:t>
    </dgm:pt>
    <dgm:pt modelId="{32F2C28C-9D0A-41F4-B937-5D33F5B022FC}" type="sibTrans" cxnId="{BCE17C51-1A5F-4FBB-BEDF-ECCACF2DF726}">
      <dgm:prSet/>
      <dgm:spPr/>
      <dgm:t>
        <a:bodyPr/>
        <a:lstStyle/>
        <a:p>
          <a:endParaRPr lang="en-US" sz="1100"/>
        </a:p>
      </dgm:t>
    </dgm:pt>
    <dgm:pt modelId="{2F843F63-192B-4351-91A8-BBE44933A4BF}">
      <dgm:prSet phldrT="[Text]" custT="1"/>
      <dgm:spPr/>
      <dgm:t>
        <a:bodyPr/>
        <a:lstStyle/>
        <a:p>
          <a:r>
            <a:rPr lang="en-US" sz="1100" dirty="0"/>
            <a:t>Data Bank</a:t>
          </a:r>
        </a:p>
      </dgm:t>
    </dgm:pt>
    <dgm:pt modelId="{AFBDAAE7-9A57-4F45-BE6C-A53AFF9E275B}" type="parTrans" cxnId="{31DBB732-FBA1-46D2-8FBE-72201D72C72F}">
      <dgm:prSet/>
      <dgm:spPr/>
      <dgm:t>
        <a:bodyPr/>
        <a:lstStyle/>
        <a:p>
          <a:endParaRPr lang="en-US" sz="1100"/>
        </a:p>
      </dgm:t>
    </dgm:pt>
    <dgm:pt modelId="{C5583C32-03A5-4257-968A-6EB11C7D5F63}" type="sibTrans" cxnId="{31DBB732-FBA1-46D2-8FBE-72201D72C72F}">
      <dgm:prSet/>
      <dgm:spPr/>
      <dgm:t>
        <a:bodyPr/>
        <a:lstStyle/>
        <a:p>
          <a:endParaRPr lang="en-US" sz="1100"/>
        </a:p>
      </dgm:t>
    </dgm:pt>
    <dgm:pt modelId="{DED7359D-B30D-48EA-A9DE-54AB9BFABA2A}">
      <dgm:prSet phldrT="[Text]" custT="1"/>
      <dgm:spPr/>
      <dgm:t>
        <a:bodyPr/>
        <a:lstStyle/>
        <a:p>
          <a:r>
            <a:rPr lang="en-US" sz="1100" dirty="0"/>
            <a:t>Config Linked Jira ID based directory</a:t>
          </a:r>
        </a:p>
      </dgm:t>
    </dgm:pt>
    <dgm:pt modelId="{CF999CAE-D310-4F7C-AF3A-9F3BFB3CF9CC}" type="parTrans" cxnId="{C386F720-4184-4D4F-BD84-C004CBFDCB9D}">
      <dgm:prSet/>
      <dgm:spPr/>
      <dgm:t>
        <a:bodyPr/>
        <a:lstStyle/>
        <a:p>
          <a:endParaRPr lang="en-US" sz="1100"/>
        </a:p>
      </dgm:t>
    </dgm:pt>
    <dgm:pt modelId="{C22E5797-1A25-4722-9427-A84E29095A45}" type="sibTrans" cxnId="{C386F720-4184-4D4F-BD84-C004CBFDCB9D}">
      <dgm:prSet/>
      <dgm:spPr/>
      <dgm:t>
        <a:bodyPr/>
        <a:lstStyle/>
        <a:p>
          <a:endParaRPr lang="en-US" sz="1100"/>
        </a:p>
      </dgm:t>
    </dgm:pt>
    <dgm:pt modelId="{CBDED0E5-92FC-48F2-95D2-0DC40DABA6D7}">
      <dgm:prSet phldrT="[Text]" custT="1"/>
      <dgm:spPr/>
      <dgm:t>
        <a:bodyPr/>
        <a:lstStyle/>
        <a:p>
          <a:r>
            <a:rPr lang="en-US" sz="1100" dirty="0"/>
            <a:t>Documents and Processes</a:t>
          </a:r>
        </a:p>
      </dgm:t>
    </dgm:pt>
    <dgm:pt modelId="{5DDDA915-4393-46AB-87C8-BFAC0309651C}" type="parTrans" cxnId="{E35FB77F-DC3B-43DB-ACB3-B488DB558432}">
      <dgm:prSet/>
      <dgm:spPr/>
      <dgm:t>
        <a:bodyPr/>
        <a:lstStyle/>
        <a:p>
          <a:endParaRPr lang="en-US" sz="1100"/>
        </a:p>
      </dgm:t>
    </dgm:pt>
    <dgm:pt modelId="{79D03C68-E4FA-4736-98A7-F8C453346FD4}" type="sibTrans" cxnId="{E35FB77F-DC3B-43DB-ACB3-B488DB558432}">
      <dgm:prSet/>
      <dgm:spPr/>
      <dgm:t>
        <a:bodyPr/>
        <a:lstStyle/>
        <a:p>
          <a:endParaRPr lang="en-US" sz="1100"/>
        </a:p>
      </dgm:t>
    </dgm:pt>
    <dgm:pt modelId="{400E70A5-FAEF-4064-AE4D-EE02982CFEAA}" type="pres">
      <dgm:prSet presAssocID="{0E8876D5-9D64-4B69-8CC1-14C88A7EB1A9}" presName="mainComposite" presStyleCnt="0">
        <dgm:presLayoutVars>
          <dgm:chPref val="1"/>
          <dgm:dir/>
          <dgm:animOne val="branch"/>
          <dgm:animLvl val="lvl"/>
          <dgm:resizeHandles val="exact"/>
        </dgm:presLayoutVars>
      </dgm:prSet>
      <dgm:spPr/>
    </dgm:pt>
    <dgm:pt modelId="{431A62D1-AF57-4002-B715-C2AB5C103EF5}" type="pres">
      <dgm:prSet presAssocID="{0E8876D5-9D64-4B69-8CC1-14C88A7EB1A9}" presName="hierFlow" presStyleCnt="0"/>
      <dgm:spPr/>
    </dgm:pt>
    <dgm:pt modelId="{1892E96B-CC7B-435D-9964-6D296689B840}" type="pres">
      <dgm:prSet presAssocID="{0E8876D5-9D64-4B69-8CC1-14C88A7EB1A9}" presName="firstBuf" presStyleCnt="0"/>
      <dgm:spPr/>
    </dgm:pt>
    <dgm:pt modelId="{A53C059E-FDB9-4468-9173-2D5B862BFE58}" type="pres">
      <dgm:prSet presAssocID="{0E8876D5-9D64-4B69-8CC1-14C88A7EB1A9}" presName="hierChild1" presStyleCnt="0">
        <dgm:presLayoutVars>
          <dgm:chPref val="1"/>
          <dgm:animOne val="branch"/>
          <dgm:animLvl val="lvl"/>
        </dgm:presLayoutVars>
      </dgm:prSet>
      <dgm:spPr/>
    </dgm:pt>
    <dgm:pt modelId="{1655AB48-7164-45D9-B145-2044713960E6}" type="pres">
      <dgm:prSet presAssocID="{67428EA9-7D82-4BBC-93A8-2196EFB622D7}" presName="Name17" presStyleCnt="0"/>
      <dgm:spPr/>
    </dgm:pt>
    <dgm:pt modelId="{61424C71-74EA-4336-9C25-2A9C2523C678}" type="pres">
      <dgm:prSet presAssocID="{67428EA9-7D82-4BBC-93A8-2196EFB622D7}" presName="level1Shape" presStyleLbl="node0" presStyleIdx="0" presStyleCnt="1">
        <dgm:presLayoutVars>
          <dgm:chPref val="3"/>
        </dgm:presLayoutVars>
      </dgm:prSet>
      <dgm:spPr/>
    </dgm:pt>
    <dgm:pt modelId="{5D15671C-A6C5-46CB-B56A-BE099B8CF789}" type="pres">
      <dgm:prSet presAssocID="{67428EA9-7D82-4BBC-93A8-2196EFB622D7}" presName="hierChild2" presStyleCnt="0"/>
      <dgm:spPr/>
    </dgm:pt>
    <dgm:pt modelId="{19CB7929-0206-4357-A583-4962CE9F1931}" type="pres">
      <dgm:prSet presAssocID="{656D1E3C-B4E2-4EEE-9F93-DA7B2A7EDDEB}" presName="Name25" presStyleLbl="parChTrans1D2" presStyleIdx="0" presStyleCnt="2"/>
      <dgm:spPr/>
    </dgm:pt>
    <dgm:pt modelId="{94D2571A-A02D-4ED9-B758-400EA0DF4B63}" type="pres">
      <dgm:prSet presAssocID="{656D1E3C-B4E2-4EEE-9F93-DA7B2A7EDDEB}" presName="connTx" presStyleLbl="parChTrans1D2" presStyleIdx="0" presStyleCnt="2"/>
      <dgm:spPr/>
    </dgm:pt>
    <dgm:pt modelId="{B14AC2EA-B05F-4684-821C-A8B507D47945}" type="pres">
      <dgm:prSet presAssocID="{3353FCFD-2ECF-4D4E-BB3B-0F630A3CD3FE}" presName="Name30" presStyleCnt="0"/>
      <dgm:spPr/>
    </dgm:pt>
    <dgm:pt modelId="{ABC25D0F-636F-43D6-B0DE-F0DECEC950B7}" type="pres">
      <dgm:prSet presAssocID="{3353FCFD-2ECF-4D4E-BB3B-0F630A3CD3FE}" presName="level2Shape" presStyleLbl="node2" presStyleIdx="0" presStyleCnt="2"/>
      <dgm:spPr/>
    </dgm:pt>
    <dgm:pt modelId="{C477CA76-C23F-49B4-A301-A8BC406C52EA}" type="pres">
      <dgm:prSet presAssocID="{3353FCFD-2ECF-4D4E-BB3B-0F630A3CD3FE}" presName="hierChild3" presStyleCnt="0"/>
      <dgm:spPr/>
    </dgm:pt>
    <dgm:pt modelId="{F8F08DF1-58F8-48CE-BEA4-5C029A6E4E31}" type="pres">
      <dgm:prSet presAssocID="{776343E5-237D-462F-AFD2-A2A44A2EF414}" presName="Name25" presStyleLbl="parChTrans1D3" presStyleIdx="0" presStyleCnt="2"/>
      <dgm:spPr/>
    </dgm:pt>
    <dgm:pt modelId="{918B3368-3B22-4A44-96EF-07B7CD00448D}" type="pres">
      <dgm:prSet presAssocID="{776343E5-237D-462F-AFD2-A2A44A2EF414}" presName="connTx" presStyleLbl="parChTrans1D3" presStyleIdx="0" presStyleCnt="2"/>
      <dgm:spPr/>
    </dgm:pt>
    <dgm:pt modelId="{032D85DA-5252-4430-867E-1E163FD218CC}" type="pres">
      <dgm:prSet presAssocID="{5CAEA282-8C37-44AA-9A88-382637FAB50D}" presName="Name30" presStyleCnt="0"/>
      <dgm:spPr/>
    </dgm:pt>
    <dgm:pt modelId="{16046A34-73C5-42FB-B7D7-55F99DFBC8CE}" type="pres">
      <dgm:prSet presAssocID="{5CAEA282-8C37-44AA-9A88-382637FAB50D}" presName="level2Shape" presStyleLbl="node3" presStyleIdx="0" presStyleCnt="2"/>
      <dgm:spPr/>
    </dgm:pt>
    <dgm:pt modelId="{4954E22B-5E45-4160-9ADC-E537E1631CD7}" type="pres">
      <dgm:prSet presAssocID="{5CAEA282-8C37-44AA-9A88-382637FAB50D}" presName="hierChild3" presStyleCnt="0"/>
      <dgm:spPr/>
    </dgm:pt>
    <dgm:pt modelId="{A629C261-E7DB-4199-8C42-00FBAF62B53A}" type="pres">
      <dgm:prSet presAssocID="{E637D32C-F2BA-4831-9441-BD41203C59BC}" presName="Name25" presStyleLbl="parChTrans1D2" presStyleIdx="1" presStyleCnt="2"/>
      <dgm:spPr/>
    </dgm:pt>
    <dgm:pt modelId="{42EA7948-8CF4-4799-9319-3C405339C5ED}" type="pres">
      <dgm:prSet presAssocID="{E637D32C-F2BA-4831-9441-BD41203C59BC}" presName="connTx" presStyleLbl="parChTrans1D2" presStyleIdx="1" presStyleCnt="2"/>
      <dgm:spPr/>
    </dgm:pt>
    <dgm:pt modelId="{92788FAB-8A91-4CBF-A0F2-5DD5F4205365}" type="pres">
      <dgm:prSet presAssocID="{A9A1C61C-45EA-40CF-9AC5-36E2C65AA4F2}" presName="Name30" presStyleCnt="0"/>
      <dgm:spPr/>
    </dgm:pt>
    <dgm:pt modelId="{B8A87BA8-BB96-44DE-94C8-34F106CFA40B}" type="pres">
      <dgm:prSet presAssocID="{A9A1C61C-45EA-40CF-9AC5-36E2C65AA4F2}" presName="level2Shape" presStyleLbl="node2" presStyleIdx="1" presStyleCnt="2"/>
      <dgm:spPr/>
    </dgm:pt>
    <dgm:pt modelId="{94A7113C-165A-464A-BE9B-E56BFC796666}" type="pres">
      <dgm:prSet presAssocID="{A9A1C61C-45EA-40CF-9AC5-36E2C65AA4F2}" presName="hierChild3" presStyleCnt="0"/>
      <dgm:spPr/>
    </dgm:pt>
    <dgm:pt modelId="{F48359C2-4D35-474D-BB8B-015C57D74A55}" type="pres">
      <dgm:prSet presAssocID="{24FF5991-A563-4783-ACB6-58180716AADE}" presName="Name25" presStyleLbl="parChTrans1D3" presStyleIdx="1" presStyleCnt="2"/>
      <dgm:spPr/>
    </dgm:pt>
    <dgm:pt modelId="{81732CB9-97FF-4A89-BA62-2E782CE3C0BA}" type="pres">
      <dgm:prSet presAssocID="{24FF5991-A563-4783-ACB6-58180716AADE}" presName="connTx" presStyleLbl="parChTrans1D3" presStyleIdx="1" presStyleCnt="2"/>
      <dgm:spPr/>
    </dgm:pt>
    <dgm:pt modelId="{5F9248D0-8FD8-4C8F-BAF7-9D515E8620FB}" type="pres">
      <dgm:prSet presAssocID="{7BBEAFFC-51F4-4342-BDDF-5D7D939A1EF7}" presName="Name30" presStyleCnt="0"/>
      <dgm:spPr/>
    </dgm:pt>
    <dgm:pt modelId="{C98F2D42-9516-4A59-B81F-3274EAADBEFB}" type="pres">
      <dgm:prSet presAssocID="{7BBEAFFC-51F4-4342-BDDF-5D7D939A1EF7}" presName="level2Shape" presStyleLbl="node3" presStyleIdx="1" presStyleCnt="2"/>
      <dgm:spPr/>
    </dgm:pt>
    <dgm:pt modelId="{05462988-206E-4FB8-9AF6-22B872D3422B}" type="pres">
      <dgm:prSet presAssocID="{7BBEAFFC-51F4-4342-BDDF-5D7D939A1EF7}" presName="hierChild3" presStyleCnt="0"/>
      <dgm:spPr/>
    </dgm:pt>
    <dgm:pt modelId="{BB8BED9D-A5D1-48A6-A859-E9DC36643FF7}" type="pres">
      <dgm:prSet presAssocID="{0E8876D5-9D64-4B69-8CC1-14C88A7EB1A9}" presName="bgShapesFlow" presStyleCnt="0"/>
      <dgm:spPr/>
    </dgm:pt>
    <dgm:pt modelId="{13653CCA-3864-41FD-94C1-918F4B8E8CAD}" type="pres">
      <dgm:prSet presAssocID="{2F843F63-192B-4351-91A8-BBE44933A4BF}" presName="rectComp" presStyleCnt="0"/>
      <dgm:spPr/>
    </dgm:pt>
    <dgm:pt modelId="{AD1F04C7-2D41-4B88-B456-136756BACD57}" type="pres">
      <dgm:prSet presAssocID="{2F843F63-192B-4351-91A8-BBE44933A4BF}" presName="bgRect" presStyleLbl="bgShp" presStyleIdx="0" presStyleCnt="3"/>
      <dgm:spPr/>
    </dgm:pt>
    <dgm:pt modelId="{707724C7-688E-422B-B58C-0639F9E948DA}" type="pres">
      <dgm:prSet presAssocID="{2F843F63-192B-4351-91A8-BBE44933A4BF}" presName="bgRectTx" presStyleLbl="bgShp" presStyleIdx="0" presStyleCnt="3">
        <dgm:presLayoutVars>
          <dgm:bulletEnabled val="1"/>
        </dgm:presLayoutVars>
      </dgm:prSet>
      <dgm:spPr/>
    </dgm:pt>
    <dgm:pt modelId="{757E3830-6319-4AAD-B0D5-4A585C0A46C5}" type="pres">
      <dgm:prSet presAssocID="{2F843F63-192B-4351-91A8-BBE44933A4BF}" presName="spComp" presStyleCnt="0"/>
      <dgm:spPr/>
    </dgm:pt>
    <dgm:pt modelId="{45871D88-7CDF-466D-A3FD-CD5ACAF816BE}" type="pres">
      <dgm:prSet presAssocID="{2F843F63-192B-4351-91A8-BBE44933A4BF}" presName="hSp" presStyleCnt="0"/>
      <dgm:spPr/>
    </dgm:pt>
    <dgm:pt modelId="{4B504526-1595-4A7F-AC60-C05B4167E149}" type="pres">
      <dgm:prSet presAssocID="{DED7359D-B30D-48EA-A9DE-54AB9BFABA2A}" presName="rectComp" presStyleCnt="0"/>
      <dgm:spPr/>
    </dgm:pt>
    <dgm:pt modelId="{69D9F320-BEE6-4222-94F6-9DDB6F878000}" type="pres">
      <dgm:prSet presAssocID="{DED7359D-B30D-48EA-A9DE-54AB9BFABA2A}" presName="bgRect" presStyleLbl="bgShp" presStyleIdx="1" presStyleCnt="3"/>
      <dgm:spPr/>
    </dgm:pt>
    <dgm:pt modelId="{9DC697D1-1445-488B-8AC6-EE01BFD16D2E}" type="pres">
      <dgm:prSet presAssocID="{DED7359D-B30D-48EA-A9DE-54AB9BFABA2A}" presName="bgRectTx" presStyleLbl="bgShp" presStyleIdx="1" presStyleCnt="3">
        <dgm:presLayoutVars>
          <dgm:bulletEnabled val="1"/>
        </dgm:presLayoutVars>
      </dgm:prSet>
      <dgm:spPr/>
    </dgm:pt>
    <dgm:pt modelId="{CEE5BDE1-10FA-49BB-BD08-B7DB067FC9B9}" type="pres">
      <dgm:prSet presAssocID="{DED7359D-B30D-48EA-A9DE-54AB9BFABA2A}" presName="spComp" presStyleCnt="0"/>
      <dgm:spPr/>
    </dgm:pt>
    <dgm:pt modelId="{669F4915-50EC-4EDD-892D-98C58978E990}" type="pres">
      <dgm:prSet presAssocID="{DED7359D-B30D-48EA-A9DE-54AB9BFABA2A}" presName="hSp" presStyleCnt="0"/>
      <dgm:spPr/>
    </dgm:pt>
    <dgm:pt modelId="{B9457243-47E1-422B-95DB-13184841AF7E}" type="pres">
      <dgm:prSet presAssocID="{CBDED0E5-92FC-48F2-95D2-0DC40DABA6D7}" presName="rectComp" presStyleCnt="0"/>
      <dgm:spPr/>
    </dgm:pt>
    <dgm:pt modelId="{7DCA82BE-BDF4-4B56-AEF1-528D74C5B190}" type="pres">
      <dgm:prSet presAssocID="{CBDED0E5-92FC-48F2-95D2-0DC40DABA6D7}" presName="bgRect" presStyleLbl="bgShp" presStyleIdx="2" presStyleCnt="3"/>
      <dgm:spPr/>
    </dgm:pt>
    <dgm:pt modelId="{A8C81569-7671-4322-97F9-06B98EDE5A6D}" type="pres">
      <dgm:prSet presAssocID="{CBDED0E5-92FC-48F2-95D2-0DC40DABA6D7}" presName="bgRectTx" presStyleLbl="bgShp" presStyleIdx="2" presStyleCnt="3">
        <dgm:presLayoutVars>
          <dgm:bulletEnabled val="1"/>
        </dgm:presLayoutVars>
      </dgm:prSet>
      <dgm:spPr/>
    </dgm:pt>
  </dgm:ptLst>
  <dgm:cxnLst>
    <dgm:cxn modelId="{EA974106-F15A-48C2-BE65-ED17A7953759}" type="presOf" srcId="{776343E5-237D-462F-AFD2-A2A44A2EF414}" destId="{918B3368-3B22-4A44-96EF-07B7CD00448D}" srcOrd="1" destOrd="0" presId="urn:microsoft.com/office/officeart/2005/8/layout/hierarchy5"/>
    <dgm:cxn modelId="{2C557F07-E23F-4296-ADA2-02CF392C0675}" srcId="{67428EA9-7D82-4BBC-93A8-2196EFB622D7}" destId="{A9A1C61C-45EA-40CF-9AC5-36E2C65AA4F2}" srcOrd="1" destOrd="0" parTransId="{E637D32C-F2BA-4831-9441-BD41203C59BC}" sibTransId="{C8E384D5-12F7-4570-8F6C-70620E33E48F}"/>
    <dgm:cxn modelId="{175E2114-6BA0-42C0-9EDB-6AEC733ADB42}" type="presOf" srcId="{776343E5-237D-462F-AFD2-A2A44A2EF414}" destId="{F8F08DF1-58F8-48CE-BEA4-5C029A6E4E31}" srcOrd="0" destOrd="0" presId="urn:microsoft.com/office/officeart/2005/8/layout/hierarchy5"/>
    <dgm:cxn modelId="{EACD5814-A86B-4A6F-A13F-D6F2E924F14D}" type="presOf" srcId="{67428EA9-7D82-4BBC-93A8-2196EFB622D7}" destId="{61424C71-74EA-4336-9C25-2A9C2523C678}" srcOrd="0" destOrd="0" presId="urn:microsoft.com/office/officeart/2005/8/layout/hierarchy5"/>
    <dgm:cxn modelId="{71EB9C14-37DA-484E-9F3B-9EF79D37D02B}" type="presOf" srcId="{CBDED0E5-92FC-48F2-95D2-0DC40DABA6D7}" destId="{A8C81569-7671-4322-97F9-06B98EDE5A6D}" srcOrd="1" destOrd="0" presId="urn:microsoft.com/office/officeart/2005/8/layout/hierarchy5"/>
    <dgm:cxn modelId="{7631FC16-0A32-4722-AB4C-5EA1C2C47E5C}" type="presOf" srcId="{E637D32C-F2BA-4831-9441-BD41203C59BC}" destId="{A629C261-E7DB-4199-8C42-00FBAF62B53A}" srcOrd="0" destOrd="0" presId="urn:microsoft.com/office/officeart/2005/8/layout/hierarchy5"/>
    <dgm:cxn modelId="{C386F720-4184-4D4F-BD84-C004CBFDCB9D}" srcId="{0E8876D5-9D64-4B69-8CC1-14C88A7EB1A9}" destId="{DED7359D-B30D-48EA-A9DE-54AB9BFABA2A}" srcOrd="2" destOrd="0" parTransId="{CF999CAE-D310-4F7C-AF3A-9F3BFB3CF9CC}" sibTransId="{C22E5797-1A25-4722-9427-A84E29095A45}"/>
    <dgm:cxn modelId="{7C1F1027-D30A-4800-AE76-04727572303B}" srcId="{0E8876D5-9D64-4B69-8CC1-14C88A7EB1A9}" destId="{67428EA9-7D82-4BBC-93A8-2196EFB622D7}" srcOrd="0" destOrd="0" parTransId="{299D73CA-0B7E-4940-9793-CA31E84E8046}" sibTransId="{13B34DDD-785A-4345-9B3A-0CCF04704BDB}"/>
    <dgm:cxn modelId="{83D8EB29-2F3E-425F-9D49-6A9FE89C42D9}" type="presOf" srcId="{656D1E3C-B4E2-4EEE-9F93-DA7B2A7EDDEB}" destId="{94D2571A-A02D-4ED9-B758-400EA0DF4B63}" srcOrd="1" destOrd="0" presId="urn:microsoft.com/office/officeart/2005/8/layout/hierarchy5"/>
    <dgm:cxn modelId="{3DF90831-C07C-44F0-A6DB-2E41829BF8C8}" type="presOf" srcId="{24FF5991-A563-4783-ACB6-58180716AADE}" destId="{F48359C2-4D35-474D-BB8B-015C57D74A55}" srcOrd="0" destOrd="0" presId="urn:microsoft.com/office/officeart/2005/8/layout/hierarchy5"/>
    <dgm:cxn modelId="{31DBB732-FBA1-46D2-8FBE-72201D72C72F}" srcId="{0E8876D5-9D64-4B69-8CC1-14C88A7EB1A9}" destId="{2F843F63-192B-4351-91A8-BBE44933A4BF}" srcOrd="1" destOrd="0" parTransId="{AFBDAAE7-9A57-4F45-BE6C-A53AFF9E275B}" sibTransId="{C5583C32-03A5-4257-968A-6EB11C7D5F63}"/>
    <dgm:cxn modelId="{6A1DAE41-2603-475D-85D3-1061C8578B64}" type="presOf" srcId="{DED7359D-B30D-48EA-A9DE-54AB9BFABA2A}" destId="{9DC697D1-1445-488B-8AC6-EE01BFD16D2E}" srcOrd="1" destOrd="0" presId="urn:microsoft.com/office/officeart/2005/8/layout/hierarchy5"/>
    <dgm:cxn modelId="{140CC46C-807F-4474-A61F-3A5CD5CA0318}" srcId="{3353FCFD-2ECF-4D4E-BB3B-0F630A3CD3FE}" destId="{5CAEA282-8C37-44AA-9A88-382637FAB50D}" srcOrd="0" destOrd="0" parTransId="{776343E5-237D-462F-AFD2-A2A44A2EF414}" sibTransId="{443A4C2F-582C-49E6-AD96-FBA3CFA7D53C}"/>
    <dgm:cxn modelId="{BCE17C51-1A5F-4FBB-BEDF-ECCACF2DF726}" srcId="{A9A1C61C-45EA-40CF-9AC5-36E2C65AA4F2}" destId="{7BBEAFFC-51F4-4342-BDDF-5D7D939A1EF7}" srcOrd="0" destOrd="0" parTransId="{24FF5991-A563-4783-ACB6-58180716AADE}" sibTransId="{32F2C28C-9D0A-41F4-B937-5D33F5B022FC}"/>
    <dgm:cxn modelId="{A3871955-FE3D-4BB3-AFEC-4352720D999D}" type="presOf" srcId="{7BBEAFFC-51F4-4342-BDDF-5D7D939A1EF7}" destId="{C98F2D42-9516-4A59-B81F-3274EAADBEFB}" srcOrd="0" destOrd="0" presId="urn:microsoft.com/office/officeart/2005/8/layout/hierarchy5"/>
    <dgm:cxn modelId="{990AC956-C110-45DA-82DF-65B0943C0E24}" type="presOf" srcId="{2F843F63-192B-4351-91A8-BBE44933A4BF}" destId="{707724C7-688E-422B-B58C-0639F9E948DA}" srcOrd="1" destOrd="0" presId="urn:microsoft.com/office/officeart/2005/8/layout/hierarchy5"/>
    <dgm:cxn modelId="{8D78D478-8B72-40C9-97B1-173AFD21C149}" type="presOf" srcId="{DED7359D-B30D-48EA-A9DE-54AB9BFABA2A}" destId="{69D9F320-BEE6-4222-94F6-9DDB6F878000}" srcOrd="0" destOrd="0" presId="urn:microsoft.com/office/officeart/2005/8/layout/hierarchy5"/>
    <dgm:cxn modelId="{E35FB77F-DC3B-43DB-ACB3-B488DB558432}" srcId="{0E8876D5-9D64-4B69-8CC1-14C88A7EB1A9}" destId="{CBDED0E5-92FC-48F2-95D2-0DC40DABA6D7}" srcOrd="3" destOrd="0" parTransId="{5DDDA915-4393-46AB-87C8-BFAC0309651C}" sibTransId="{79D03C68-E4FA-4736-98A7-F8C453346FD4}"/>
    <dgm:cxn modelId="{EBFD8382-5194-4ACB-AE7D-4DD6BF9960F6}" type="presOf" srcId="{5CAEA282-8C37-44AA-9A88-382637FAB50D}" destId="{16046A34-73C5-42FB-B7D7-55F99DFBC8CE}" srcOrd="0" destOrd="0" presId="urn:microsoft.com/office/officeart/2005/8/layout/hierarchy5"/>
    <dgm:cxn modelId="{D5BB2C88-FCF3-4B9E-874F-D4ADFE446359}" type="presOf" srcId="{CBDED0E5-92FC-48F2-95D2-0DC40DABA6D7}" destId="{7DCA82BE-BDF4-4B56-AEF1-528D74C5B190}" srcOrd="0" destOrd="0" presId="urn:microsoft.com/office/officeart/2005/8/layout/hierarchy5"/>
    <dgm:cxn modelId="{F4DD7EAF-5FED-4D1F-8EB0-258484407C0D}" type="presOf" srcId="{0E8876D5-9D64-4B69-8CC1-14C88A7EB1A9}" destId="{400E70A5-FAEF-4064-AE4D-EE02982CFEAA}" srcOrd="0" destOrd="0" presId="urn:microsoft.com/office/officeart/2005/8/layout/hierarchy5"/>
    <dgm:cxn modelId="{E8582CB6-238A-4B80-B57C-24FB7AAFEC90}" type="presOf" srcId="{2F843F63-192B-4351-91A8-BBE44933A4BF}" destId="{AD1F04C7-2D41-4B88-B456-136756BACD57}" srcOrd="0" destOrd="0" presId="urn:microsoft.com/office/officeart/2005/8/layout/hierarchy5"/>
    <dgm:cxn modelId="{45C94CD6-75AE-4728-9760-E43C13ADB329}" type="presOf" srcId="{A9A1C61C-45EA-40CF-9AC5-36E2C65AA4F2}" destId="{B8A87BA8-BB96-44DE-94C8-34F106CFA40B}" srcOrd="0" destOrd="0" presId="urn:microsoft.com/office/officeart/2005/8/layout/hierarchy5"/>
    <dgm:cxn modelId="{578D4BDA-3BE7-4CA8-9D3C-41785D2944E4}" type="presOf" srcId="{656D1E3C-B4E2-4EEE-9F93-DA7B2A7EDDEB}" destId="{19CB7929-0206-4357-A583-4962CE9F1931}" srcOrd="0" destOrd="0" presId="urn:microsoft.com/office/officeart/2005/8/layout/hierarchy5"/>
    <dgm:cxn modelId="{57BB56E6-FC34-4BF0-9B73-6EE7FEADF278}" type="presOf" srcId="{24FF5991-A563-4783-ACB6-58180716AADE}" destId="{81732CB9-97FF-4A89-BA62-2E782CE3C0BA}" srcOrd="1" destOrd="0" presId="urn:microsoft.com/office/officeart/2005/8/layout/hierarchy5"/>
    <dgm:cxn modelId="{0130B5F6-43F2-4E98-94CF-600ABDB8FC8E}" type="presOf" srcId="{3353FCFD-2ECF-4D4E-BB3B-0F630A3CD3FE}" destId="{ABC25D0F-636F-43D6-B0DE-F0DECEC950B7}" srcOrd="0" destOrd="0" presId="urn:microsoft.com/office/officeart/2005/8/layout/hierarchy5"/>
    <dgm:cxn modelId="{39540BF8-11BF-4FA0-A702-165386F4E59E}" type="presOf" srcId="{E637D32C-F2BA-4831-9441-BD41203C59BC}" destId="{42EA7948-8CF4-4799-9319-3C405339C5ED}" srcOrd="1" destOrd="0" presId="urn:microsoft.com/office/officeart/2005/8/layout/hierarchy5"/>
    <dgm:cxn modelId="{388FAEFC-E150-4B30-AAA7-DB18BBB9A75A}" srcId="{67428EA9-7D82-4BBC-93A8-2196EFB622D7}" destId="{3353FCFD-2ECF-4D4E-BB3B-0F630A3CD3FE}" srcOrd="0" destOrd="0" parTransId="{656D1E3C-B4E2-4EEE-9F93-DA7B2A7EDDEB}" sibTransId="{E689882A-12D4-4CF1-A073-6A8420596362}"/>
    <dgm:cxn modelId="{91912AD1-0E48-4444-969B-56FA86D5EA85}" type="presParOf" srcId="{400E70A5-FAEF-4064-AE4D-EE02982CFEAA}" destId="{431A62D1-AF57-4002-B715-C2AB5C103EF5}" srcOrd="0" destOrd="0" presId="urn:microsoft.com/office/officeart/2005/8/layout/hierarchy5"/>
    <dgm:cxn modelId="{9E8879A9-A3D5-48FB-84F2-9BD571D78B64}" type="presParOf" srcId="{431A62D1-AF57-4002-B715-C2AB5C103EF5}" destId="{1892E96B-CC7B-435D-9964-6D296689B840}" srcOrd="0" destOrd="0" presId="urn:microsoft.com/office/officeart/2005/8/layout/hierarchy5"/>
    <dgm:cxn modelId="{1558E5DE-D108-4A97-8D66-5791DD07B5D3}" type="presParOf" srcId="{431A62D1-AF57-4002-B715-C2AB5C103EF5}" destId="{A53C059E-FDB9-4468-9173-2D5B862BFE58}" srcOrd="1" destOrd="0" presId="urn:microsoft.com/office/officeart/2005/8/layout/hierarchy5"/>
    <dgm:cxn modelId="{5FDE287B-0F01-4E0F-8970-EAD8CFF53B80}" type="presParOf" srcId="{A53C059E-FDB9-4468-9173-2D5B862BFE58}" destId="{1655AB48-7164-45D9-B145-2044713960E6}" srcOrd="0" destOrd="0" presId="urn:microsoft.com/office/officeart/2005/8/layout/hierarchy5"/>
    <dgm:cxn modelId="{85C80300-D4BF-4451-8EE3-FF1AAE2820E1}" type="presParOf" srcId="{1655AB48-7164-45D9-B145-2044713960E6}" destId="{61424C71-74EA-4336-9C25-2A9C2523C678}" srcOrd="0" destOrd="0" presId="urn:microsoft.com/office/officeart/2005/8/layout/hierarchy5"/>
    <dgm:cxn modelId="{0C141276-95E4-454F-B222-899AF507805D}" type="presParOf" srcId="{1655AB48-7164-45D9-B145-2044713960E6}" destId="{5D15671C-A6C5-46CB-B56A-BE099B8CF789}" srcOrd="1" destOrd="0" presId="urn:microsoft.com/office/officeart/2005/8/layout/hierarchy5"/>
    <dgm:cxn modelId="{0EA0765F-4253-415B-8189-665110E464F0}" type="presParOf" srcId="{5D15671C-A6C5-46CB-B56A-BE099B8CF789}" destId="{19CB7929-0206-4357-A583-4962CE9F1931}" srcOrd="0" destOrd="0" presId="urn:microsoft.com/office/officeart/2005/8/layout/hierarchy5"/>
    <dgm:cxn modelId="{8F87194C-E166-46AD-9B46-D5BDD4583A8C}" type="presParOf" srcId="{19CB7929-0206-4357-A583-4962CE9F1931}" destId="{94D2571A-A02D-4ED9-B758-400EA0DF4B63}" srcOrd="0" destOrd="0" presId="urn:microsoft.com/office/officeart/2005/8/layout/hierarchy5"/>
    <dgm:cxn modelId="{CE37F34A-358B-4AE8-94A4-F4ECCE04D66D}" type="presParOf" srcId="{5D15671C-A6C5-46CB-B56A-BE099B8CF789}" destId="{B14AC2EA-B05F-4684-821C-A8B507D47945}" srcOrd="1" destOrd="0" presId="urn:microsoft.com/office/officeart/2005/8/layout/hierarchy5"/>
    <dgm:cxn modelId="{A63F43B6-98E2-4D1D-ACF4-5804F12DE1CA}" type="presParOf" srcId="{B14AC2EA-B05F-4684-821C-A8B507D47945}" destId="{ABC25D0F-636F-43D6-B0DE-F0DECEC950B7}" srcOrd="0" destOrd="0" presId="urn:microsoft.com/office/officeart/2005/8/layout/hierarchy5"/>
    <dgm:cxn modelId="{06290FE5-7553-4F9A-A006-486E40FD37C4}" type="presParOf" srcId="{B14AC2EA-B05F-4684-821C-A8B507D47945}" destId="{C477CA76-C23F-49B4-A301-A8BC406C52EA}" srcOrd="1" destOrd="0" presId="urn:microsoft.com/office/officeart/2005/8/layout/hierarchy5"/>
    <dgm:cxn modelId="{EE1AC3BB-2063-473C-AA9E-D4CBB5824E09}" type="presParOf" srcId="{C477CA76-C23F-49B4-A301-A8BC406C52EA}" destId="{F8F08DF1-58F8-48CE-BEA4-5C029A6E4E31}" srcOrd="0" destOrd="0" presId="urn:microsoft.com/office/officeart/2005/8/layout/hierarchy5"/>
    <dgm:cxn modelId="{A68394E1-3657-4306-BA14-AABF691D55BC}" type="presParOf" srcId="{F8F08DF1-58F8-48CE-BEA4-5C029A6E4E31}" destId="{918B3368-3B22-4A44-96EF-07B7CD00448D}" srcOrd="0" destOrd="0" presId="urn:microsoft.com/office/officeart/2005/8/layout/hierarchy5"/>
    <dgm:cxn modelId="{4BF0DB49-8678-48F1-9C1F-140ED3856E38}" type="presParOf" srcId="{C477CA76-C23F-49B4-A301-A8BC406C52EA}" destId="{032D85DA-5252-4430-867E-1E163FD218CC}" srcOrd="1" destOrd="0" presId="urn:microsoft.com/office/officeart/2005/8/layout/hierarchy5"/>
    <dgm:cxn modelId="{3A18D8FE-721F-44AC-8505-8AB8EB7D8698}" type="presParOf" srcId="{032D85DA-5252-4430-867E-1E163FD218CC}" destId="{16046A34-73C5-42FB-B7D7-55F99DFBC8CE}" srcOrd="0" destOrd="0" presId="urn:microsoft.com/office/officeart/2005/8/layout/hierarchy5"/>
    <dgm:cxn modelId="{CF74793E-5337-47E7-A65C-AC351346B9BD}" type="presParOf" srcId="{032D85DA-5252-4430-867E-1E163FD218CC}" destId="{4954E22B-5E45-4160-9ADC-E537E1631CD7}" srcOrd="1" destOrd="0" presId="urn:microsoft.com/office/officeart/2005/8/layout/hierarchy5"/>
    <dgm:cxn modelId="{FB300089-2303-486E-9CA6-D699F5834C40}" type="presParOf" srcId="{5D15671C-A6C5-46CB-B56A-BE099B8CF789}" destId="{A629C261-E7DB-4199-8C42-00FBAF62B53A}" srcOrd="2" destOrd="0" presId="urn:microsoft.com/office/officeart/2005/8/layout/hierarchy5"/>
    <dgm:cxn modelId="{6E1EACDE-B050-4B49-9CF4-05AAF3503A55}" type="presParOf" srcId="{A629C261-E7DB-4199-8C42-00FBAF62B53A}" destId="{42EA7948-8CF4-4799-9319-3C405339C5ED}" srcOrd="0" destOrd="0" presId="urn:microsoft.com/office/officeart/2005/8/layout/hierarchy5"/>
    <dgm:cxn modelId="{966F8887-0A47-4364-9056-EE2BD1061B5F}" type="presParOf" srcId="{5D15671C-A6C5-46CB-B56A-BE099B8CF789}" destId="{92788FAB-8A91-4CBF-A0F2-5DD5F4205365}" srcOrd="3" destOrd="0" presId="urn:microsoft.com/office/officeart/2005/8/layout/hierarchy5"/>
    <dgm:cxn modelId="{14220EB9-F169-43BC-B8BD-AF8DBF957BAF}" type="presParOf" srcId="{92788FAB-8A91-4CBF-A0F2-5DD5F4205365}" destId="{B8A87BA8-BB96-44DE-94C8-34F106CFA40B}" srcOrd="0" destOrd="0" presId="urn:microsoft.com/office/officeart/2005/8/layout/hierarchy5"/>
    <dgm:cxn modelId="{46ABADDD-C096-4134-B09B-1753FBEEBA8D}" type="presParOf" srcId="{92788FAB-8A91-4CBF-A0F2-5DD5F4205365}" destId="{94A7113C-165A-464A-BE9B-E56BFC796666}" srcOrd="1" destOrd="0" presId="urn:microsoft.com/office/officeart/2005/8/layout/hierarchy5"/>
    <dgm:cxn modelId="{7D1B86DB-6F4E-4CDB-9A79-6A07AB2F01FB}" type="presParOf" srcId="{94A7113C-165A-464A-BE9B-E56BFC796666}" destId="{F48359C2-4D35-474D-BB8B-015C57D74A55}" srcOrd="0" destOrd="0" presId="urn:microsoft.com/office/officeart/2005/8/layout/hierarchy5"/>
    <dgm:cxn modelId="{A92299CC-49B9-44BA-96B6-445E0BFD1C19}" type="presParOf" srcId="{F48359C2-4D35-474D-BB8B-015C57D74A55}" destId="{81732CB9-97FF-4A89-BA62-2E782CE3C0BA}" srcOrd="0" destOrd="0" presId="urn:microsoft.com/office/officeart/2005/8/layout/hierarchy5"/>
    <dgm:cxn modelId="{3FC4F6C5-1CAB-4840-B69D-FF9644A995BD}" type="presParOf" srcId="{94A7113C-165A-464A-BE9B-E56BFC796666}" destId="{5F9248D0-8FD8-4C8F-BAF7-9D515E8620FB}" srcOrd="1" destOrd="0" presId="urn:microsoft.com/office/officeart/2005/8/layout/hierarchy5"/>
    <dgm:cxn modelId="{B1957CD2-C82B-4D26-955B-7B1DA684D20D}" type="presParOf" srcId="{5F9248D0-8FD8-4C8F-BAF7-9D515E8620FB}" destId="{C98F2D42-9516-4A59-B81F-3274EAADBEFB}" srcOrd="0" destOrd="0" presId="urn:microsoft.com/office/officeart/2005/8/layout/hierarchy5"/>
    <dgm:cxn modelId="{A9F99CD5-EFFD-42DE-9052-A33D902FF51C}" type="presParOf" srcId="{5F9248D0-8FD8-4C8F-BAF7-9D515E8620FB}" destId="{05462988-206E-4FB8-9AF6-22B872D3422B}" srcOrd="1" destOrd="0" presId="urn:microsoft.com/office/officeart/2005/8/layout/hierarchy5"/>
    <dgm:cxn modelId="{862A26B7-4BDF-4736-86EF-A4F6C6FEB253}" type="presParOf" srcId="{400E70A5-FAEF-4064-AE4D-EE02982CFEAA}" destId="{BB8BED9D-A5D1-48A6-A859-E9DC36643FF7}" srcOrd="1" destOrd="0" presId="urn:microsoft.com/office/officeart/2005/8/layout/hierarchy5"/>
    <dgm:cxn modelId="{AC13EE60-A7BB-4F0C-877F-DCBF02E31A8F}" type="presParOf" srcId="{BB8BED9D-A5D1-48A6-A859-E9DC36643FF7}" destId="{13653CCA-3864-41FD-94C1-918F4B8E8CAD}" srcOrd="0" destOrd="0" presId="urn:microsoft.com/office/officeart/2005/8/layout/hierarchy5"/>
    <dgm:cxn modelId="{553504D7-9F83-4E75-A598-6124605FA4CE}" type="presParOf" srcId="{13653CCA-3864-41FD-94C1-918F4B8E8CAD}" destId="{AD1F04C7-2D41-4B88-B456-136756BACD57}" srcOrd="0" destOrd="0" presId="urn:microsoft.com/office/officeart/2005/8/layout/hierarchy5"/>
    <dgm:cxn modelId="{1ABA1EA7-25DC-4678-93A8-A49B015861DA}" type="presParOf" srcId="{13653CCA-3864-41FD-94C1-918F4B8E8CAD}" destId="{707724C7-688E-422B-B58C-0639F9E948DA}" srcOrd="1" destOrd="0" presId="urn:microsoft.com/office/officeart/2005/8/layout/hierarchy5"/>
    <dgm:cxn modelId="{1B8248CD-7E17-4C05-80B7-07DF9EA57F58}" type="presParOf" srcId="{BB8BED9D-A5D1-48A6-A859-E9DC36643FF7}" destId="{757E3830-6319-4AAD-B0D5-4A585C0A46C5}" srcOrd="1" destOrd="0" presId="urn:microsoft.com/office/officeart/2005/8/layout/hierarchy5"/>
    <dgm:cxn modelId="{A084B61B-5BB7-4A27-8508-7E801D01DC25}" type="presParOf" srcId="{757E3830-6319-4AAD-B0D5-4A585C0A46C5}" destId="{45871D88-7CDF-466D-A3FD-CD5ACAF816BE}" srcOrd="0" destOrd="0" presId="urn:microsoft.com/office/officeart/2005/8/layout/hierarchy5"/>
    <dgm:cxn modelId="{F159B10E-7ED5-4829-8CBD-18B9BC1892D2}" type="presParOf" srcId="{BB8BED9D-A5D1-48A6-A859-E9DC36643FF7}" destId="{4B504526-1595-4A7F-AC60-C05B4167E149}" srcOrd="2" destOrd="0" presId="urn:microsoft.com/office/officeart/2005/8/layout/hierarchy5"/>
    <dgm:cxn modelId="{95BE0FB4-4FCE-4244-A176-E66DC259FF3F}" type="presParOf" srcId="{4B504526-1595-4A7F-AC60-C05B4167E149}" destId="{69D9F320-BEE6-4222-94F6-9DDB6F878000}" srcOrd="0" destOrd="0" presId="urn:microsoft.com/office/officeart/2005/8/layout/hierarchy5"/>
    <dgm:cxn modelId="{7F0157C8-5D6D-47FC-A617-17CCABC5A2DF}" type="presParOf" srcId="{4B504526-1595-4A7F-AC60-C05B4167E149}" destId="{9DC697D1-1445-488B-8AC6-EE01BFD16D2E}" srcOrd="1" destOrd="0" presId="urn:microsoft.com/office/officeart/2005/8/layout/hierarchy5"/>
    <dgm:cxn modelId="{09E5A7B2-B5A2-4E01-A7D9-29D27B0BC001}" type="presParOf" srcId="{BB8BED9D-A5D1-48A6-A859-E9DC36643FF7}" destId="{CEE5BDE1-10FA-49BB-BD08-B7DB067FC9B9}" srcOrd="3" destOrd="0" presId="urn:microsoft.com/office/officeart/2005/8/layout/hierarchy5"/>
    <dgm:cxn modelId="{BD0FF29A-E433-4A33-BA27-4AC442288DAA}" type="presParOf" srcId="{CEE5BDE1-10FA-49BB-BD08-B7DB067FC9B9}" destId="{669F4915-50EC-4EDD-892D-98C58978E990}" srcOrd="0" destOrd="0" presId="urn:microsoft.com/office/officeart/2005/8/layout/hierarchy5"/>
    <dgm:cxn modelId="{417476D6-3171-4E73-BD90-31CA1D59FC81}" type="presParOf" srcId="{BB8BED9D-A5D1-48A6-A859-E9DC36643FF7}" destId="{B9457243-47E1-422B-95DB-13184841AF7E}" srcOrd="4" destOrd="0" presId="urn:microsoft.com/office/officeart/2005/8/layout/hierarchy5"/>
    <dgm:cxn modelId="{541F5040-DA2E-4344-9FCA-BB96271324BC}" type="presParOf" srcId="{B9457243-47E1-422B-95DB-13184841AF7E}" destId="{7DCA82BE-BDF4-4B56-AEF1-528D74C5B190}" srcOrd="0" destOrd="0" presId="urn:microsoft.com/office/officeart/2005/8/layout/hierarchy5"/>
    <dgm:cxn modelId="{9CA406A9-86AC-4AB0-B496-FE3236B58F44}" type="presParOf" srcId="{B9457243-47E1-422B-95DB-13184841AF7E}" destId="{A8C81569-7671-4322-97F9-06B98EDE5A6D}" srcOrd="1" destOrd="0" presId="urn:microsoft.com/office/officeart/2005/8/layout/hierarchy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E897542-9044-4BCE-ACB1-5C7E847C36CC}"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55BA2944-E70C-457F-AFB7-F00B04420D21}">
      <dgm:prSet phldrT="[Text]" custT="1"/>
      <dgm:spPr/>
      <dgm:t>
        <a:bodyPr/>
        <a:lstStyle/>
        <a:p>
          <a:r>
            <a:rPr lang="en-US" sz="1800" b="1" dirty="0">
              <a:latin typeface="Cambria" panose="02040503050406030204" pitchFamily="18" charset="0"/>
              <a:ea typeface="Cambria" panose="02040503050406030204" pitchFamily="18" charset="0"/>
            </a:rPr>
            <a:t>Data Bank Repository</a:t>
          </a:r>
          <a:endParaRPr lang="en-US" sz="1400" dirty="0">
            <a:latin typeface="Cambria" panose="02040503050406030204" pitchFamily="18" charset="0"/>
            <a:ea typeface="Cambria" panose="02040503050406030204" pitchFamily="18" charset="0"/>
          </a:endParaRPr>
        </a:p>
        <a:p>
          <a:r>
            <a:rPr lang="en-US" sz="1400" dirty="0">
              <a:latin typeface="Cambria" panose="02040503050406030204" pitchFamily="18" charset="0"/>
              <a:ea typeface="Cambria" panose="02040503050406030204" pitchFamily="18" charset="0"/>
            </a:rPr>
            <a:t>Scripts | Tools | Configuration</a:t>
          </a:r>
        </a:p>
      </dgm:t>
    </dgm:pt>
    <dgm:pt modelId="{8FD5DC6A-0DBA-40C9-8770-25D5543DA9BA}" type="parTrans" cxnId="{8877BAE4-A871-403E-8445-270C3642F29C}">
      <dgm:prSet/>
      <dgm:spPr/>
      <dgm:t>
        <a:bodyPr/>
        <a:lstStyle/>
        <a:p>
          <a:endParaRPr lang="en-US">
            <a:latin typeface="Cambria" panose="02040503050406030204" pitchFamily="18" charset="0"/>
            <a:ea typeface="Cambria" panose="02040503050406030204" pitchFamily="18" charset="0"/>
          </a:endParaRPr>
        </a:p>
      </dgm:t>
    </dgm:pt>
    <dgm:pt modelId="{65D90843-8D93-49A6-89EE-3079D4972883}" type="sibTrans" cxnId="{8877BAE4-A871-403E-8445-270C3642F29C}">
      <dgm:prSet/>
      <dgm:spPr/>
      <dgm:t>
        <a:bodyPr/>
        <a:lstStyle/>
        <a:p>
          <a:endParaRPr lang="en-US">
            <a:latin typeface="Cambria" panose="02040503050406030204" pitchFamily="18" charset="0"/>
            <a:ea typeface="Cambria" panose="02040503050406030204" pitchFamily="18" charset="0"/>
          </a:endParaRPr>
        </a:p>
      </dgm:t>
    </dgm:pt>
    <dgm:pt modelId="{7BCCAA62-FDA3-4DA5-A837-E4735FFDFF47}">
      <dgm:prSet phldrT="[Text]" custT="1"/>
      <dgm:spPr/>
      <dgm:t>
        <a:bodyPr/>
        <a:lstStyle/>
        <a:p>
          <a:r>
            <a:rPr lang="en-US" sz="2000" dirty="0">
              <a:latin typeface="Cambria" panose="02040503050406030204" pitchFamily="18" charset="0"/>
              <a:ea typeface="Cambria" panose="02040503050406030204" pitchFamily="18" charset="0"/>
            </a:rPr>
            <a:t>Data Bank</a:t>
          </a:r>
        </a:p>
        <a:p>
          <a:r>
            <a:rPr lang="en-US" sz="2000" dirty="0">
              <a:latin typeface="Cambria" panose="02040503050406030204" pitchFamily="18" charset="0"/>
              <a:ea typeface="Cambria" panose="02040503050406030204" pitchFamily="18" charset="0"/>
            </a:rPr>
            <a:t>On VM</a:t>
          </a:r>
        </a:p>
      </dgm:t>
    </dgm:pt>
    <dgm:pt modelId="{022FB9B0-FA47-4181-A83D-BBAF41205907}" type="parTrans" cxnId="{C285BC14-058E-41F7-BD6C-13241978558D}">
      <dgm:prSet/>
      <dgm:spPr/>
      <dgm:t>
        <a:bodyPr/>
        <a:lstStyle/>
        <a:p>
          <a:endParaRPr lang="en-US">
            <a:latin typeface="Cambria" panose="02040503050406030204" pitchFamily="18" charset="0"/>
            <a:ea typeface="Cambria" panose="02040503050406030204" pitchFamily="18" charset="0"/>
          </a:endParaRPr>
        </a:p>
      </dgm:t>
    </dgm:pt>
    <dgm:pt modelId="{97C43FAE-AE60-4E7C-879F-2D79B9FDE01B}" type="sibTrans" cxnId="{C285BC14-058E-41F7-BD6C-13241978558D}">
      <dgm:prSet/>
      <dgm:spPr/>
      <dgm:t>
        <a:bodyPr/>
        <a:lstStyle/>
        <a:p>
          <a:endParaRPr lang="en-US">
            <a:latin typeface="Cambria" panose="02040503050406030204" pitchFamily="18" charset="0"/>
            <a:ea typeface="Cambria" panose="02040503050406030204" pitchFamily="18" charset="0"/>
          </a:endParaRPr>
        </a:p>
      </dgm:t>
    </dgm:pt>
    <dgm:pt modelId="{F61A1612-8016-4D32-8707-B2B3BF9B8249}">
      <dgm:prSet phldrT="[Text]" custT="1"/>
      <dgm:spPr/>
      <dgm:t>
        <a:bodyPr/>
        <a:lstStyle/>
        <a:p>
          <a:r>
            <a:rPr lang="en-US" sz="2000" dirty="0">
              <a:latin typeface="Cambria" panose="02040503050406030204" pitchFamily="18" charset="0"/>
              <a:ea typeface="Cambria" panose="02040503050406030204" pitchFamily="18" charset="0"/>
            </a:rPr>
            <a:t>Data Bank on AWS</a:t>
          </a:r>
        </a:p>
      </dgm:t>
    </dgm:pt>
    <dgm:pt modelId="{1E7465F0-458B-4DB6-AFC7-101121D2E4BE}" type="parTrans" cxnId="{C62F0DEE-8C2C-42CA-A997-A50676A12554}">
      <dgm:prSet/>
      <dgm:spPr/>
      <dgm:t>
        <a:bodyPr/>
        <a:lstStyle/>
        <a:p>
          <a:endParaRPr lang="en-US">
            <a:latin typeface="Cambria" panose="02040503050406030204" pitchFamily="18" charset="0"/>
            <a:ea typeface="Cambria" panose="02040503050406030204" pitchFamily="18" charset="0"/>
          </a:endParaRPr>
        </a:p>
      </dgm:t>
    </dgm:pt>
    <dgm:pt modelId="{DC9A6567-6F30-4DE5-B231-B0DC77EC89BA}" type="sibTrans" cxnId="{C62F0DEE-8C2C-42CA-A997-A50676A12554}">
      <dgm:prSet/>
      <dgm:spPr/>
      <dgm:t>
        <a:bodyPr/>
        <a:lstStyle/>
        <a:p>
          <a:endParaRPr lang="en-US">
            <a:latin typeface="Cambria" panose="02040503050406030204" pitchFamily="18" charset="0"/>
            <a:ea typeface="Cambria" panose="02040503050406030204" pitchFamily="18" charset="0"/>
          </a:endParaRPr>
        </a:p>
      </dgm:t>
    </dgm:pt>
    <dgm:pt modelId="{A651F5F5-0FDA-4B47-8758-B7A6C0129FBE}">
      <dgm:prSet phldrT="[Text]"/>
      <dgm:spPr/>
      <dgm:t>
        <a:bodyPr/>
        <a:lstStyle/>
        <a:p>
          <a:r>
            <a:rPr lang="en-US" dirty="0">
              <a:latin typeface="Cambria" panose="02040503050406030204" pitchFamily="18" charset="0"/>
              <a:ea typeface="Cambria" panose="02040503050406030204" pitchFamily="18" charset="0"/>
            </a:rPr>
            <a:t>MySQL</a:t>
          </a:r>
        </a:p>
      </dgm:t>
    </dgm:pt>
    <dgm:pt modelId="{10B6A3E0-3A94-4029-B2C9-9304F21BACAA}" type="parTrans" cxnId="{E129BACA-ADDD-4C7F-8624-8EE6A19DBD05}">
      <dgm:prSet/>
      <dgm:spPr/>
      <dgm:t>
        <a:bodyPr/>
        <a:lstStyle/>
        <a:p>
          <a:endParaRPr lang="en-US">
            <a:latin typeface="Cambria" panose="02040503050406030204" pitchFamily="18" charset="0"/>
            <a:ea typeface="Cambria" panose="02040503050406030204" pitchFamily="18" charset="0"/>
          </a:endParaRPr>
        </a:p>
      </dgm:t>
    </dgm:pt>
    <dgm:pt modelId="{F885140C-8C16-4D55-BB34-A55FB080C7D9}" type="sibTrans" cxnId="{E129BACA-ADDD-4C7F-8624-8EE6A19DBD05}">
      <dgm:prSet/>
      <dgm:spPr/>
      <dgm:t>
        <a:bodyPr/>
        <a:lstStyle/>
        <a:p>
          <a:endParaRPr lang="en-US">
            <a:latin typeface="Cambria" panose="02040503050406030204" pitchFamily="18" charset="0"/>
            <a:ea typeface="Cambria" panose="02040503050406030204" pitchFamily="18" charset="0"/>
          </a:endParaRPr>
        </a:p>
      </dgm:t>
    </dgm:pt>
    <dgm:pt modelId="{095E448D-23A7-4699-BFB3-42F0D6640889}">
      <dgm:prSet phldrT="[Text]"/>
      <dgm:spPr/>
      <dgm:t>
        <a:bodyPr/>
        <a:lstStyle/>
        <a:p>
          <a:r>
            <a:rPr lang="en-US" dirty="0">
              <a:latin typeface="Cambria" panose="02040503050406030204" pitchFamily="18" charset="0"/>
              <a:ea typeface="Cambria" panose="02040503050406030204" pitchFamily="18" charset="0"/>
            </a:rPr>
            <a:t>MongoDB</a:t>
          </a:r>
        </a:p>
      </dgm:t>
    </dgm:pt>
    <dgm:pt modelId="{7046742A-7ADF-414B-A9C0-12DED012DAF4}" type="parTrans" cxnId="{51E13A4B-29BA-49A4-BF5F-25FCA13C8C58}">
      <dgm:prSet/>
      <dgm:spPr/>
      <dgm:t>
        <a:bodyPr/>
        <a:lstStyle/>
        <a:p>
          <a:endParaRPr lang="en-US">
            <a:latin typeface="Cambria" panose="02040503050406030204" pitchFamily="18" charset="0"/>
            <a:ea typeface="Cambria" panose="02040503050406030204" pitchFamily="18" charset="0"/>
          </a:endParaRPr>
        </a:p>
      </dgm:t>
    </dgm:pt>
    <dgm:pt modelId="{7728C5CF-7BE6-4F60-A938-C1FFE879156A}" type="sibTrans" cxnId="{51E13A4B-29BA-49A4-BF5F-25FCA13C8C58}">
      <dgm:prSet/>
      <dgm:spPr/>
      <dgm:t>
        <a:bodyPr/>
        <a:lstStyle/>
        <a:p>
          <a:endParaRPr lang="en-US">
            <a:latin typeface="Cambria" panose="02040503050406030204" pitchFamily="18" charset="0"/>
            <a:ea typeface="Cambria" panose="02040503050406030204" pitchFamily="18" charset="0"/>
          </a:endParaRPr>
        </a:p>
      </dgm:t>
    </dgm:pt>
    <dgm:pt modelId="{E1E4F20A-7FE5-42B6-8D53-6471C34453AA}">
      <dgm:prSet phldrT="[Text]" custT="1"/>
      <dgm:spPr/>
      <dgm:t>
        <a:bodyPr/>
        <a:lstStyle/>
        <a:p>
          <a:r>
            <a:rPr lang="en-US" sz="2000" dirty="0">
              <a:latin typeface="Cambria" panose="02040503050406030204" pitchFamily="18" charset="0"/>
              <a:ea typeface="Cambria" panose="02040503050406030204" pitchFamily="18" charset="0"/>
            </a:rPr>
            <a:t>Data Bank on qumsfs</a:t>
          </a:r>
        </a:p>
      </dgm:t>
    </dgm:pt>
    <dgm:pt modelId="{9817AB33-8A3F-4EA5-9A92-0D768ABF2484}" type="parTrans" cxnId="{1A7A02ED-CDEF-473D-8D8A-81EA40232CA6}">
      <dgm:prSet/>
      <dgm:spPr/>
      <dgm:t>
        <a:bodyPr/>
        <a:lstStyle/>
        <a:p>
          <a:endParaRPr lang="en-US">
            <a:latin typeface="Cambria" panose="02040503050406030204" pitchFamily="18" charset="0"/>
            <a:ea typeface="Cambria" panose="02040503050406030204" pitchFamily="18" charset="0"/>
          </a:endParaRPr>
        </a:p>
      </dgm:t>
    </dgm:pt>
    <dgm:pt modelId="{3201E838-FFAE-43E2-84E6-BB1B67B40330}" type="sibTrans" cxnId="{1A7A02ED-CDEF-473D-8D8A-81EA40232CA6}">
      <dgm:prSet/>
      <dgm:spPr/>
      <dgm:t>
        <a:bodyPr/>
        <a:lstStyle/>
        <a:p>
          <a:endParaRPr lang="en-US">
            <a:latin typeface="Cambria" panose="02040503050406030204" pitchFamily="18" charset="0"/>
            <a:ea typeface="Cambria" panose="02040503050406030204" pitchFamily="18" charset="0"/>
          </a:endParaRPr>
        </a:p>
      </dgm:t>
    </dgm:pt>
    <dgm:pt modelId="{FF1E8390-C955-44CF-9799-453117D6DCFC}" type="pres">
      <dgm:prSet presAssocID="{8E897542-9044-4BCE-ACB1-5C7E847C36CC}" presName="hierChild1" presStyleCnt="0">
        <dgm:presLayoutVars>
          <dgm:chPref val="1"/>
          <dgm:dir/>
          <dgm:animOne val="branch"/>
          <dgm:animLvl val="lvl"/>
          <dgm:resizeHandles/>
        </dgm:presLayoutVars>
      </dgm:prSet>
      <dgm:spPr/>
    </dgm:pt>
    <dgm:pt modelId="{47A153A3-48C6-4E98-B86A-C3C7694A1F1D}" type="pres">
      <dgm:prSet presAssocID="{55BA2944-E70C-457F-AFB7-F00B04420D21}" presName="hierRoot1" presStyleCnt="0"/>
      <dgm:spPr/>
    </dgm:pt>
    <dgm:pt modelId="{84C3617E-43B1-445A-A930-614134E6A43F}" type="pres">
      <dgm:prSet presAssocID="{55BA2944-E70C-457F-AFB7-F00B04420D21}" presName="composite" presStyleCnt="0"/>
      <dgm:spPr/>
    </dgm:pt>
    <dgm:pt modelId="{9C57B619-3AE0-4F35-A1AC-0C0423A8FCB0}" type="pres">
      <dgm:prSet presAssocID="{55BA2944-E70C-457F-AFB7-F00B04420D21}" presName="background" presStyleLbl="node0" presStyleIdx="0" presStyleCnt="3"/>
      <dgm:spPr/>
    </dgm:pt>
    <dgm:pt modelId="{841F641A-D553-404F-8F4A-7CFF1A47028C}" type="pres">
      <dgm:prSet presAssocID="{55BA2944-E70C-457F-AFB7-F00B04420D21}" presName="text" presStyleLbl="fgAcc0" presStyleIdx="0" presStyleCnt="3" custScaleY="170300" custLinFactX="15327" custLinFactNeighborX="100000" custLinFactNeighborY="-2152">
        <dgm:presLayoutVars>
          <dgm:chPref val="3"/>
        </dgm:presLayoutVars>
      </dgm:prSet>
      <dgm:spPr/>
    </dgm:pt>
    <dgm:pt modelId="{7F16B2D4-7F4F-4FB2-9A0C-A971E77AC43E}" type="pres">
      <dgm:prSet presAssocID="{55BA2944-E70C-457F-AFB7-F00B04420D21}" presName="hierChild2" presStyleCnt="0"/>
      <dgm:spPr/>
    </dgm:pt>
    <dgm:pt modelId="{E0BE6B0A-E99E-48C9-B7E0-00D6A8F4D0BF}" type="pres">
      <dgm:prSet presAssocID="{022FB9B0-FA47-4181-A83D-BBAF41205907}" presName="Name10" presStyleLbl="parChTrans1D2" presStyleIdx="0" presStyleCnt="3"/>
      <dgm:spPr/>
    </dgm:pt>
    <dgm:pt modelId="{0B320C4F-9C6B-4627-AB48-02C0172FE3FD}" type="pres">
      <dgm:prSet presAssocID="{7BCCAA62-FDA3-4DA5-A837-E4735FFDFF47}" presName="hierRoot2" presStyleCnt="0"/>
      <dgm:spPr/>
    </dgm:pt>
    <dgm:pt modelId="{323BEB6A-0FB9-4169-9D08-A7AFAA68AE0C}" type="pres">
      <dgm:prSet presAssocID="{7BCCAA62-FDA3-4DA5-A837-E4735FFDFF47}" presName="composite2" presStyleCnt="0"/>
      <dgm:spPr/>
    </dgm:pt>
    <dgm:pt modelId="{18D91F32-0498-4CF2-BE69-D36D53ED18AC}" type="pres">
      <dgm:prSet presAssocID="{7BCCAA62-FDA3-4DA5-A837-E4735FFDFF47}" presName="background2" presStyleLbl="node2" presStyleIdx="0" presStyleCnt="3"/>
      <dgm:spPr/>
    </dgm:pt>
    <dgm:pt modelId="{466680D7-7BE0-470D-A838-7A4D4FCEE932}" type="pres">
      <dgm:prSet presAssocID="{7BCCAA62-FDA3-4DA5-A837-E4735FFDFF47}" presName="text2" presStyleLbl="fgAcc2" presStyleIdx="0" presStyleCnt="3" custLinFactX="15327" custLinFactNeighborX="100000" custLinFactNeighborY="-2152">
        <dgm:presLayoutVars>
          <dgm:chPref val="3"/>
        </dgm:presLayoutVars>
      </dgm:prSet>
      <dgm:spPr/>
    </dgm:pt>
    <dgm:pt modelId="{075B92C2-FAF9-44E7-942A-6D41274C0232}" type="pres">
      <dgm:prSet presAssocID="{7BCCAA62-FDA3-4DA5-A837-E4735FFDFF47}" presName="hierChild3" presStyleCnt="0"/>
      <dgm:spPr/>
    </dgm:pt>
    <dgm:pt modelId="{53BF5E17-3861-4D72-84CE-262A677F880A}" type="pres">
      <dgm:prSet presAssocID="{1E7465F0-458B-4DB6-AFC7-101121D2E4BE}" presName="Name10" presStyleLbl="parChTrans1D2" presStyleIdx="1" presStyleCnt="3"/>
      <dgm:spPr/>
    </dgm:pt>
    <dgm:pt modelId="{16A4DF83-0B91-44D8-B865-E8024AA64558}" type="pres">
      <dgm:prSet presAssocID="{F61A1612-8016-4D32-8707-B2B3BF9B8249}" presName="hierRoot2" presStyleCnt="0"/>
      <dgm:spPr/>
    </dgm:pt>
    <dgm:pt modelId="{794B4825-3E26-4C9F-9C6D-433B1D217E89}" type="pres">
      <dgm:prSet presAssocID="{F61A1612-8016-4D32-8707-B2B3BF9B8249}" presName="composite2" presStyleCnt="0"/>
      <dgm:spPr/>
    </dgm:pt>
    <dgm:pt modelId="{A5D36987-2FC2-4FC5-A5E9-B908A3C6EF1F}" type="pres">
      <dgm:prSet presAssocID="{F61A1612-8016-4D32-8707-B2B3BF9B8249}" presName="background2" presStyleLbl="node2" presStyleIdx="1" presStyleCnt="3"/>
      <dgm:spPr/>
    </dgm:pt>
    <dgm:pt modelId="{724D5D72-BDCD-41A8-B5FE-26640512C519}" type="pres">
      <dgm:prSet presAssocID="{F61A1612-8016-4D32-8707-B2B3BF9B8249}" presName="text2" presStyleLbl="fgAcc2" presStyleIdx="1" presStyleCnt="3" custLinFactX="15327" custLinFactNeighborX="100000" custLinFactNeighborY="-2152">
        <dgm:presLayoutVars>
          <dgm:chPref val="3"/>
        </dgm:presLayoutVars>
      </dgm:prSet>
      <dgm:spPr/>
    </dgm:pt>
    <dgm:pt modelId="{68C9041D-D41D-4C10-8C3B-C57C699EDA55}" type="pres">
      <dgm:prSet presAssocID="{F61A1612-8016-4D32-8707-B2B3BF9B8249}" presName="hierChild3" presStyleCnt="0"/>
      <dgm:spPr/>
    </dgm:pt>
    <dgm:pt modelId="{1F6EBCFC-AD9C-4A33-9A51-8B025155259B}" type="pres">
      <dgm:prSet presAssocID="{9817AB33-8A3F-4EA5-9A92-0D768ABF2484}" presName="Name10" presStyleLbl="parChTrans1D2" presStyleIdx="2" presStyleCnt="3"/>
      <dgm:spPr/>
    </dgm:pt>
    <dgm:pt modelId="{B108FAAB-E56D-476F-8141-14D6ED6D1F61}" type="pres">
      <dgm:prSet presAssocID="{E1E4F20A-7FE5-42B6-8D53-6471C34453AA}" presName="hierRoot2" presStyleCnt="0"/>
      <dgm:spPr/>
    </dgm:pt>
    <dgm:pt modelId="{029454CC-E5B7-4DC8-B1AE-D19E07C977E6}" type="pres">
      <dgm:prSet presAssocID="{E1E4F20A-7FE5-42B6-8D53-6471C34453AA}" presName="composite2" presStyleCnt="0"/>
      <dgm:spPr/>
    </dgm:pt>
    <dgm:pt modelId="{82C29AB3-B67D-44FB-A5E6-D5AF07434FB8}" type="pres">
      <dgm:prSet presAssocID="{E1E4F20A-7FE5-42B6-8D53-6471C34453AA}" presName="background2" presStyleLbl="node2" presStyleIdx="2" presStyleCnt="3"/>
      <dgm:spPr/>
    </dgm:pt>
    <dgm:pt modelId="{953D08CD-5BDD-4C73-9B3C-F00BDE6F49BA}" type="pres">
      <dgm:prSet presAssocID="{E1E4F20A-7FE5-42B6-8D53-6471C34453AA}" presName="text2" presStyleLbl="fgAcc2" presStyleIdx="2" presStyleCnt="3" custLinFactX="15967" custLinFactNeighborX="100000" custLinFactNeighborY="-3706">
        <dgm:presLayoutVars>
          <dgm:chPref val="3"/>
        </dgm:presLayoutVars>
      </dgm:prSet>
      <dgm:spPr/>
    </dgm:pt>
    <dgm:pt modelId="{60363D4C-5311-428E-BA34-360BB07A4C89}" type="pres">
      <dgm:prSet presAssocID="{E1E4F20A-7FE5-42B6-8D53-6471C34453AA}" presName="hierChild3" presStyleCnt="0"/>
      <dgm:spPr/>
    </dgm:pt>
    <dgm:pt modelId="{99540367-5865-42B7-BB63-F60F6BA0C935}" type="pres">
      <dgm:prSet presAssocID="{A651F5F5-0FDA-4B47-8758-B7A6C0129FBE}" presName="hierRoot1" presStyleCnt="0"/>
      <dgm:spPr/>
    </dgm:pt>
    <dgm:pt modelId="{9D3C78C6-F9C1-422B-AA61-58A521F3A17B}" type="pres">
      <dgm:prSet presAssocID="{A651F5F5-0FDA-4B47-8758-B7A6C0129FBE}" presName="composite" presStyleCnt="0"/>
      <dgm:spPr/>
    </dgm:pt>
    <dgm:pt modelId="{832FB935-8638-4409-A2D3-AAAB67D75A16}" type="pres">
      <dgm:prSet presAssocID="{A651F5F5-0FDA-4B47-8758-B7A6C0129FBE}" presName="background" presStyleLbl="node0" presStyleIdx="1" presStyleCnt="3"/>
      <dgm:spPr/>
    </dgm:pt>
    <dgm:pt modelId="{084F0B72-D7E8-4D54-86EC-C46E29000C1C}" type="pres">
      <dgm:prSet presAssocID="{A651F5F5-0FDA-4B47-8758-B7A6C0129FBE}" presName="text" presStyleLbl="fgAcc0" presStyleIdx="1" presStyleCnt="3" custLinFactX="13043" custLinFactNeighborX="100000" custLinFactNeighborY="-9154">
        <dgm:presLayoutVars>
          <dgm:chPref val="3"/>
        </dgm:presLayoutVars>
      </dgm:prSet>
      <dgm:spPr/>
    </dgm:pt>
    <dgm:pt modelId="{27CB6EFE-483F-49B2-823B-117B1842594F}" type="pres">
      <dgm:prSet presAssocID="{A651F5F5-0FDA-4B47-8758-B7A6C0129FBE}" presName="hierChild2" presStyleCnt="0"/>
      <dgm:spPr/>
    </dgm:pt>
    <dgm:pt modelId="{D056BF9F-469E-46DD-967F-2E3BA086B8A7}" type="pres">
      <dgm:prSet presAssocID="{095E448D-23A7-4699-BFB3-42F0D6640889}" presName="hierRoot1" presStyleCnt="0"/>
      <dgm:spPr/>
    </dgm:pt>
    <dgm:pt modelId="{E6CEB1DE-705D-480B-AFE1-5BC2B7755C7E}" type="pres">
      <dgm:prSet presAssocID="{095E448D-23A7-4699-BFB3-42F0D6640889}" presName="composite" presStyleCnt="0"/>
      <dgm:spPr/>
    </dgm:pt>
    <dgm:pt modelId="{22E66F3F-6A56-4CDE-B982-B7B1365186A1}" type="pres">
      <dgm:prSet presAssocID="{095E448D-23A7-4699-BFB3-42F0D6640889}" presName="background" presStyleLbl="node0" presStyleIdx="2" presStyleCnt="3"/>
      <dgm:spPr/>
    </dgm:pt>
    <dgm:pt modelId="{FE142CB7-06F2-4B58-9885-204A7888FA00}" type="pres">
      <dgm:prSet presAssocID="{095E448D-23A7-4699-BFB3-42F0D6640889}" presName="text" presStyleLbl="fgAcc0" presStyleIdx="2" presStyleCnt="3" custLinFactX="-100000" custLinFactNeighborX="-150816" custLinFactNeighborY="-9154">
        <dgm:presLayoutVars>
          <dgm:chPref val="3"/>
        </dgm:presLayoutVars>
      </dgm:prSet>
      <dgm:spPr/>
    </dgm:pt>
    <dgm:pt modelId="{6F420087-65C1-424C-9BE6-C39BB05C433F}" type="pres">
      <dgm:prSet presAssocID="{095E448D-23A7-4699-BFB3-42F0D6640889}" presName="hierChild2" presStyleCnt="0"/>
      <dgm:spPr/>
    </dgm:pt>
  </dgm:ptLst>
  <dgm:cxnLst>
    <dgm:cxn modelId="{C3352600-54B5-48A2-B672-08790AEC4FCF}" type="presOf" srcId="{F61A1612-8016-4D32-8707-B2B3BF9B8249}" destId="{724D5D72-BDCD-41A8-B5FE-26640512C519}" srcOrd="0" destOrd="0" presId="urn:microsoft.com/office/officeart/2005/8/layout/hierarchy1"/>
    <dgm:cxn modelId="{C285BC14-058E-41F7-BD6C-13241978558D}" srcId="{55BA2944-E70C-457F-AFB7-F00B04420D21}" destId="{7BCCAA62-FDA3-4DA5-A837-E4735FFDFF47}" srcOrd="0" destOrd="0" parTransId="{022FB9B0-FA47-4181-A83D-BBAF41205907}" sibTransId="{97C43FAE-AE60-4E7C-879F-2D79B9FDE01B}"/>
    <dgm:cxn modelId="{9DDF8928-A6E7-4DEF-8F60-9CD9F445A447}" type="presOf" srcId="{55BA2944-E70C-457F-AFB7-F00B04420D21}" destId="{841F641A-D553-404F-8F4A-7CFF1A47028C}" srcOrd="0" destOrd="0" presId="urn:microsoft.com/office/officeart/2005/8/layout/hierarchy1"/>
    <dgm:cxn modelId="{DF9D4331-6268-4544-BBF9-53B940763F1A}" type="presOf" srcId="{E1E4F20A-7FE5-42B6-8D53-6471C34453AA}" destId="{953D08CD-5BDD-4C73-9B3C-F00BDE6F49BA}" srcOrd="0" destOrd="0" presId="urn:microsoft.com/office/officeart/2005/8/layout/hierarchy1"/>
    <dgm:cxn modelId="{67ED7C5E-8983-422E-8A24-7930D25DD517}" type="presOf" srcId="{7BCCAA62-FDA3-4DA5-A837-E4735FFDFF47}" destId="{466680D7-7BE0-470D-A838-7A4D4FCEE932}" srcOrd="0" destOrd="0" presId="urn:microsoft.com/office/officeart/2005/8/layout/hierarchy1"/>
    <dgm:cxn modelId="{93D49B5F-8C2B-4C8F-A4EC-EA24700FBB11}" type="presOf" srcId="{095E448D-23A7-4699-BFB3-42F0D6640889}" destId="{FE142CB7-06F2-4B58-9885-204A7888FA00}" srcOrd="0" destOrd="0" presId="urn:microsoft.com/office/officeart/2005/8/layout/hierarchy1"/>
    <dgm:cxn modelId="{51E13A4B-29BA-49A4-BF5F-25FCA13C8C58}" srcId="{8E897542-9044-4BCE-ACB1-5C7E847C36CC}" destId="{095E448D-23A7-4699-BFB3-42F0D6640889}" srcOrd="2" destOrd="0" parTransId="{7046742A-7ADF-414B-A9C0-12DED012DAF4}" sibTransId="{7728C5CF-7BE6-4F60-A938-C1FFE879156A}"/>
    <dgm:cxn modelId="{BBEF187F-F162-4234-B68F-4765E139CF01}" type="presOf" srcId="{A651F5F5-0FDA-4B47-8758-B7A6C0129FBE}" destId="{084F0B72-D7E8-4D54-86EC-C46E29000C1C}" srcOrd="0" destOrd="0" presId="urn:microsoft.com/office/officeart/2005/8/layout/hierarchy1"/>
    <dgm:cxn modelId="{79BA7C83-875B-42DB-96C3-5A3A5A22BA44}" type="presOf" srcId="{1E7465F0-458B-4DB6-AFC7-101121D2E4BE}" destId="{53BF5E17-3861-4D72-84CE-262A677F880A}" srcOrd="0" destOrd="0" presId="urn:microsoft.com/office/officeart/2005/8/layout/hierarchy1"/>
    <dgm:cxn modelId="{BF24338D-2C56-4615-9CA8-2B17C5E728FB}" type="presOf" srcId="{8E897542-9044-4BCE-ACB1-5C7E847C36CC}" destId="{FF1E8390-C955-44CF-9799-453117D6DCFC}" srcOrd="0" destOrd="0" presId="urn:microsoft.com/office/officeart/2005/8/layout/hierarchy1"/>
    <dgm:cxn modelId="{AC8A50C7-4B85-4B89-B1F0-22751AFF4A96}" type="presOf" srcId="{9817AB33-8A3F-4EA5-9A92-0D768ABF2484}" destId="{1F6EBCFC-AD9C-4A33-9A51-8B025155259B}" srcOrd="0" destOrd="0" presId="urn:microsoft.com/office/officeart/2005/8/layout/hierarchy1"/>
    <dgm:cxn modelId="{E129BACA-ADDD-4C7F-8624-8EE6A19DBD05}" srcId="{8E897542-9044-4BCE-ACB1-5C7E847C36CC}" destId="{A651F5F5-0FDA-4B47-8758-B7A6C0129FBE}" srcOrd="1" destOrd="0" parTransId="{10B6A3E0-3A94-4029-B2C9-9304F21BACAA}" sibTransId="{F885140C-8C16-4D55-BB34-A55FB080C7D9}"/>
    <dgm:cxn modelId="{101C73E4-8693-4445-892D-39D86775FC0F}" type="presOf" srcId="{022FB9B0-FA47-4181-A83D-BBAF41205907}" destId="{E0BE6B0A-E99E-48C9-B7E0-00D6A8F4D0BF}" srcOrd="0" destOrd="0" presId="urn:microsoft.com/office/officeart/2005/8/layout/hierarchy1"/>
    <dgm:cxn modelId="{8877BAE4-A871-403E-8445-270C3642F29C}" srcId="{8E897542-9044-4BCE-ACB1-5C7E847C36CC}" destId="{55BA2944-E70C-457F-AFB7-F00B04420D21}" srcOrd="0" destOrd="0" parTransId="{8FD5DC6A-0DBA-40C9-8770-25D5543DA9BA}" sibTransId="{65D90843-8D93-49A6-89EE-3079D4972883}"/>
    <dgm:cxn modelId="{1A7A02ED-CDEF-473D-8D8A-81EA40232CA6}" srcId="{55BA2944-E70C-457F-AFB7-F00B04420D21}" destId="{E1E4F20A-7FE5-42B6-8D53-6471C34453AA}" srcOrd="2" destOrd="0" parTransId="{9817AB33-8A3F-4EA5-9A92-0D768ABF2484}" sibTransId="{3201E838-FFAE-43E2-84E6-BB1B67B40330}"/>
    <dgm:cxn modelId="{C62F0DEE-8C2C-42CA-A997-A50676A12554}" srcId="{55BA2944-E70C-457F-AFB7-F00B04420D21}" destId="{F61A1612-8016-4D32-8707-B2B3BF9B8249}" srcOrd="1" destOrd="0" parTransId="{1E7465F0-458B-4DB6-AFC7-101121D2E4BE}" sibTransId="{DC9A6567-6F30-4DE5-B231-B0DC77EC89BA}"/>
    <dgm:cxn modelId="{A39B1B2E-878F-4042-BFB5-D7DDAF0B3350}" type="presParOf" srcId="{FF1E8390-C955-44CF-9799-453117D6DCFC}" destId="{47A153A3-48C6-4E98-B86A-C3C7694A1F1D}" srcOrd="0" destOrd="0" presId="urn:microsoft.com/office/officeart/2005/8/layout/hierarchy1"/>
    <dgm:cxn modelId="{73324D31-9AE1-4105-A9D3-F205FDF2E773}" type="presParOf" srcId="{47A153A3-48C6-4E98-B86A-C3C7694A1F1D}" destId="{84C3617E-43B1-445A-A930-614134E6A43F}" srcOrd="0" destOrd="0" presId="urn:microsoft.com/office/officeart/2005/8/layout/hierarchy1"/>
    <dgm:cxn modelId="{9EE3E81D-BFFB-407F-98EB-695A9824B7F0}" type="presParOf" srcId="{84C3617E-43B1-445A-A930-614134E6A43F}" destId="{9C57B619-3AE0-4F35-A1AC-0C0423A8FCB0}" srcOrd="0" destOrd="0" presId="urn:microsoft.com/office/officeart/2005/8/layout/hierarchy1"/>
    <dgm:cxn modelId="{A1E013CC-F52B-4901-B5D5-F5AA50BE9CFD}" type="presParOf" srcId="{84C3617E-43B1-445A-A930-614134E6A43F}" destId="{841F641A-D553-404F-8F4A-7CFF1A47028C}" srcOrd="1" destOrd="0" presId="urn:microsoft.com/office/officeart/2005/8/layout/hierarchy1"/>
    <dgm:cxn modelId="{37725B18-0C6A-4365-9D21-9A8A85B39986}" type="presParOf" srcId="{47A153A3-48C6-4E98-B86A-C3C7694A1F1D}" destId="{7F16B2D4-7F4F-4FB2-9A0C-A971E77AC43E}" srcOrd="1" destOrd="0" presId="urn:microsoft.com/office/officeart/2005/8/layout/hierarchy1"/>
    <dgm:cxn modelId="{94195F6E-770A-45C1-BB01-0F321226366A}" type="presParOf" srcId="{7F16B2D4-7F4F-4FB2-9A0C-A971E77AC43E}" destId="{E0BE6B0A-E99E-48C9-B7E0-00D6A8F4D0BF}" srcOrd="0" destOrd="0" presId="urn:microsoft.com/office/officeart/2005/8/layout/hierarchy1"/>
    <dgm:cxn modelId="{F5329A1F-81C4-4256-9686-CBA0D2369B9D}" type="presParOf" srcId="{7F16B2D4-7F4F-4FB2-9A0C-A971E77AC43E}" destId="{0B320C4F-9C6B-4627-AB48-02C0172FE3FD}" srcOrd="1" destOrd="0" presId="urn:microsoft.com/office/officeart/2005/8/layout/hierarchy1"/>
    <dgm:cxn modelId="{72EB97F2-8C8F-4066-B2D2-F0A6C9EAA36D}" type="presParOf" srcId="{0B320C4F-9C6B-4627-AB48-02C0172FE3FD}" destId="{323BEB6A-0FB9-4169-9D08-A7AFAA68AE0C}" srcOrd="0" destOrd="0" presId="urn:microsoft.com/office/officeart/2005/8/layout/hierarchy1"/>
    <dgm:cxn modelId="{2F39B69D-011C-4F4C-BAD9-EB9F9730F023}" type="presParOf" srcId="{323BEB6A-0FB9-4169-9D08-A7AFAA68AE0C}" destId="{18D91F32-0498-4CF2-BE69-D36D53ED18AC}" srcOrd="0" destOrd="0" presId="urn:microsoft.com/office/officeart/2005/8/layout/hierarchy1"/>
    <dgm:cxn modelId="{5CD3E785-F162-45FE-8542-E5D31A62BDFD}" type="presParOf" srcId="{323BEB6A-0FB9-4169-9D08-A7AFAA68AE0C}" destId="{466680D7-7BE0-470D-A838-7A4D4FCEE932}" srcOrd="1" destOrd="0" presId="urn:microsoft.com/office/officeart/2005/8/layout/hierarchy1"/>
    <dgm:cxn modelId="{3734632E-8F8D-494E-A123-EDEB45047627}" type="presParOf" srcId="{0B320C4F-9C6B-4627-AB48-02C0172FE3FD}" destId="{075B92C2-FAF9-44E7-942A-6D41274C0232}" srcOrd="1" destOrd="0" presId="urn:microsoft.com/office/officeart/2005/8/layout/hierarchy1"/>
    <dgm:cxn modelId="{FF90BA0F-0F35-4875-936E-B8B8DC99B272}" type="presParOf" srcId="{7F16B2D4-7F4F-4FB2-9A0C-A971E77AC43E}" destId="{53BF5E17-3861-4D72-84CE-262A677F880A}" srcOrd="2" destOrd="0" presId="urn:microsoft.com/office/officeart/2005/8/layout/hierarchy1"/>
    <dgm:cxn modelId="{1BCC477A-0E0F-4518-BFB4-D2D58F7763C4}" type="presParOf" srcId="{7F16B2D4-7F4F-4FB2-9A0C-A971E77AC43E}" destId="{16A4DF83-0B91-44D8-B865-E8024AA64558}" srcOrd="3" destOrd="0" presId="urn:microsoft.com/office/officeart/2005/8/layout/hierarchy1"/>
    <dgm:cxn modelId="{A6A9C7A7-2532-4882-A8D6-71A619A9BD59}" type="presParOf" srcId="{16A4DF83-0B91-44D8-B865-E8024AA64558}" destId="{794B4825-3E26-4C9F-9C6D-433B1D217E89}" srcOrd="0" destOrd="0" presId="urn:microsoft.com/office/officeart/2005/8/layout/hierarchy1"/>
    <dgm:cxn modelId="{338C7321-8A7B-4F3A-852E-ADA229214409}" type="presParOf" srcId="{794B4825-3E26-4C9F-9C6D-433B1D217E89}" destId="{A5D36987-2FC2-4FC5-A5E9-B908A3C6EF1F}" srcOrd="0" destOrd="0" presId="urn:microsoft.com/office/officeart/2005/8/layout/hierarchy1"/>
    <dgm:cxn modelId="{6FC7F53A-183A-46C6-AA10-C771C8494090}" type="presParOf" srcId="{794B4825-3E26-4C9F-9C6D-433B1D217E89}" destId="{724D5D72-BDCD-41A8-B5FE-26640512C519}" srcOrd="1" destOrd="0" presId="urn:microsoft.com/office/officeart/2005/8/layout/hierarchy1"/>
    <dgm:cxn modelId="{6E692F61-7B0B-4C64-8055-32FED0A8BAE6}" type="presParOf" srcId="{16A4DF83-0B91-44D8-B865-E8024AA64558}" destId="{68C9041D-D41D-4C10-8C3B-C57C699EDA55}" srcOrd="1" destOrd="0" presId="urn:microsoft.com/office/officeart/2005/8/layout/hierarchy1"/>
    <dgm:cxn modelId="{9512BF21-518C-47B6-822E-C79F3A6BBD0C}" type="presParOf" srcId="{7F16B2D4-7F4F-4FB2-9A0C-A971E77AC43E}" destId="{1F6EBCFC-AD9C-4A33-9A51-8B025155259B}" srcOrd="4" destOrd="0" presId="urn:microsoft.com/office/officeart/2005/8/layout/hierarchy1"/>
    <dgm:cxn modelId="{07C47DBB-AE5E-4570-8E8D-BBBBB7951123}" type="presParOf" srcId="{7F16B2D4-7F4F-4FB2-9A0C-A971E77AC43E}" destId="{B108FAAB-E56D-476F-8141-14D6ED6D1F61}" srcOrd="5" destOrd="0" presId="urn:microsoft.com/office/officeart/2005/8/layout/hierarchy1"/>
    <dgm:cxn modelId="{A408971F-236B-4222-9CF1-C16A9F3CE3B7}" type="presParOf" srcId="{B108FAAB-E56D-476F-8141-14D6ED6D1F61}" destId="{029454CC-E5B7-4DC8-B1AE-D19E07C977E6}" srcOrd="0" destOrd="0" presId="urn:microsoft.com/office/officeart/2005/8/layout/hierarchy1"/>
    <dgm:cxn modelId="{76E4C971-B205-4A04-9206-E253C9E0390C}" type="presParOf" srcId="{029454CC-E5B7-4DC8-B1AE-D19E07C977E6}" destId="{82C29AB3-B67D-44FB-A5E6-D5AF07434FB8}" srcOrd="0" destOrd="0" presId="urn:microsoft.com/office/officeart/2005/8/layout/hierarchy1"/>
    <dgm:cxn modelId="{7ED8B172-2D25-4A4A-94B7-18A4788F7E93}" type="presParOf" srcId="{029454CC-E5B7-4DC8-B1AE-D19E07C977E6}" destId="{953D08CD-5BDD-4C73-9B3C-F00BDE6F49BA}" srcOrd="1" destOrd="0" presId="urn:microsoft.com/office/officeart/2005/8/layout/hierarchy1"/>
    <dgm:cxn modelId="{C1F19854-95F2-4F30-9ACD-A79097DEF744}" type="presParOf" srcId="{B108FAAB-E56D-476F-8141-14D6ED6D1F61}" destId="{60363D4C-5311-428E-BA34-360BB07A4C89}" srcOrd="1" destOrd="0" presId="urn:microsoft.com/office/officeart/2005/8/layout/hierarchy1"/>
    <dgm:cxn modelId="{99E68B95-A1E2-414C-BCA2-EF20C481287D}" type="presParOf" srcId="{FF1E8390-C955-44CF-9799-453117D6DCFC}" destId="{99540367-5865-42B7-BB63-F60F6BA0C935}" srcOrd="1" destOrd="0" presId="urn:microsoft.com/office/officeart/2005/8/layout/hierarchy1"/>
    <dgm:cxn modelId="{9CE11669-28B2-43E5-93A0-6616397D991A}" type="presParOf" srcId="{99540367-5865-42B7-BB63-F60F6BA0C935}" destId="{9D3C78C6-F9C1-422B-AA61-58A521F3A17B}" srcOrd="0" destOrd="0" presId="urn:microsoft.com/office/officeart/2005/8/layout/hierarchy1"/>
    <dgm:cxn modelId="{75ED9257-55E9-4223-87DD-37B276C31459}" type="presParOf" srcId="{9D3C78C6-F9C1-422B-AA61-58A521F3A17B}" destId="{832FB935-8638-4409-A2D3-AAAB67D75A16}" srcOrd="0" destOrd="0" presId="urn:microsoft.com/office/officeart/2005/8/layout/hierarchy1"/>
    <dgm:cxn modelId="{4935538C-76CF-4970-A12A-A2F4AEDFB5C2}" type="presParOf" srcId="{9D3C78C6-F9C1-422B-AA61-58A521F3A17B}" destId="{084F0B72-D7E8-4D54-86EC-C46E29000C1C}" srcOrd="1" destOrd="0" presId="urn:microsoft.com/office/officeart/2005/8/layout/hierarchy1"/>
    <dgm:cxn modelId="{02D97A33-04EF-4BCA-8D12-09A1FF6CF7AE}" type="presParOf" srcId="{99540367-5865-42B7-BB63-F60F6BA0C935}" destId="{27CB6EFE-483F-49B2-823B-117B1842594F}" srcOrd="1" destOrd="0" presId="urn:microsoft.com/office/officeart/2005/8/layout/hierarchy1"/>
    <dgm:cxn modelId="{707BECCD-3D13-439B-8A68-1A473B9112E6}" type="presParOf" srcId="{FF1E8390-C955-44CF-9799-453117D6DCFC}" destId="{D056BF9F-469E-46DD-967F-2E3BA086B8A7}" srcOrd="2" destOrd="0" presId="urn:microsoft.com/office/officeart/2005/8/layout/hierarchy1"/>
    <dgm:cxn modelId="{078E8051-7D3B-4108-ACA5-085300FD2D40}" type="presParOf" srcId="{D056BF9F-469E-46DD-967F-2E3BA086B8A7}" destId="{E6CEB1DE-705D-480B-AFE1-5BC2B7755C7E}" srcOrd="0" destOrd="0" presId="urn:microsoft.com/office/officeart/2005/8/layout/hierarchy1"/>
    <dgm:cxn modelId="{F3816558-1596-429F-8E98-02F3E2C79F8F}" type="presParOf" srcId="{E6CEB1DE-705D-480B-AFE1-5BC2B7755C7E}" destId="{22E66F3F-6A56-4CDE-B982-B7B1365186A1}" srcOrd="0" destOrd="0" presId="urn:microsoft.com/office/officeart/2005/8/layout/hierarchy1"/>
    <dgm:cxn modelId="{49DB0E64-BC2B-46AD-AC2D-DD0F8C9C7DA4}" type="presParOf" srcId="{E6CEB1DE-705D-480B-AFE1-5BC2B7755C7E}" destId="{FE142CB7-06F2-4B58-9885-204A7888FA00}" srcOrd="1" destOrd="0" presId="urn:microsoft.com/office/officeart/2005/8/layout/hierarchy1"/>
    <dgm:cxn modelId="{2B0B167B-2508-4181-80CB-AD032BB21845}" type="presParOf" srcId="{D056BF9F-469E-46DD-967F-2E3BA086B8A7}" destId="{6F420087-65C1-424C-9BE6-C39BB05C433F}"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5CEDC3-3BA0-48D0-A272-FF1BE93A106E}">
      <dsp:nvSpPr>
        <dsp:cNvPr id="0" name=""/>
        <dsp:cNvSpPr/>
      </dsp:nvSpPr>
      <dsp:spPr>
        <a:xfrm>
          <a:off x="4892449" y="1437485"/>
          <a:ext cx="544581" cy="355161"/>
        </a:xfrm>
        <a:custGeom>
          <a:avLst/>
          <a:gdLst/>
          <a:ahLst/>
          <a:cxnLst/>
          <a:rect l="0" t="0" r="0" b="0"/>
          <a:pathLst>
            <a:path>
              <a:moveTo>
                <a:pt x="0" y="0"/>
              </a:moveTo>
              <a:lnTo>
                <a:pt x="0" y="355161"/>
              </a:lnTo>
              <a:lnTo>
                <a:pt x="544581" y="35516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FAD72-2AE1-41A8-9839-A78BB0D81EBD}">
      <dsp:nvSpPr>
        <dsp:cNvPr id="0" name=""/>
        <dsp:cNvSpPr/>
      </dsp:nvSpPr>
      <dsp:spPr>
        <a:xfrm>
          <a:off x="2743720" y="596935"/>
          <a:ext cx="2148728" cy="248613"/>
        </a:xfrm>
        <a:custGeom>
          <a:avLst/>
          <a:gdLst/>
          <a:ahLst/>
          <a:cxnLst/>
          <a:rect l="0" t="0" r="0" b="0"/>
          <a:pathLst>
            <a:path>
              <a:moveTo>
                <a:pt x="0" y="0"/>
              </a:moveTo>
              <a:lnTo>
                <a:pt x="0" y="124306"/>
              </a:lnTo>
              <a:lnTo>
                <a:pt x="2148728" y="124306"/>
              </a:lnTo>
              <a:lnTo>
                <a:pt x="2148728" y="24861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0821523-0A0E-4AF9-8DC6-CF5C071A13CF}">
      <dsp:nvSpPr>
        <dsp:cNvPr id="0" name=""/>
        <dsp:cNvSpPr/>
      </dsp:nvSpPr>
      <dsp:spPr>
        <a:xfrm>
          <a:off x="3459963" y="1437485"/>
          <a:ext cx="544581" cy="355161"/>
        </a:xfrm>
        <a:custGeom>
          <a:avLst/>
          <a:gdLst/>
          <a:ahLst/>
          <a:cxnLst/>
          <a:rect l="0" t="0" r="0" b="0"/>
          <a:pathLst>
            <a:path>
              <a:moveTo>
                <a:pt x="0" y="0"/>
              </a:moveTo>
              <a:lnTo>
                <a:pt x="0" y="355161"/>
              </a:lnTo>
              <a:lnTo>
                <a:pt x="544581" y="35516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268750-7545-4F02-B89C-43EAF85321A9}">
      <dsp:nvSpPr>
        <dsp:cNvPr id="0" name=""/>
        <dsp:cNvSpPr/>
      </dsp:nvSpPr>
      <dsp:spPr>
        <a:xfrm>
          <a:off x="2743720" y="596935"/>
          <a:ext cx="716242" cy="248613"/>
        </a:xfrm>
        <a:custGeom>
          <a:avLst/>
          <a:gdLst/>
          <a:ahLst/>
          <a:cxnLst/>
          <a:rect l="0" t="0" r="0" b="0"/>
          <a:pathLst>
            <a:path>
              <a:moveTo>
                <a:pt x="0" y="0"/>
              </a:moveTo>
              <a:lnTo>
                <a:pt x="0" y="124306"/>
              </a:lnTo>
              <a:lnTo>
                <a:pt x="716242" y="124306"/>
              </a:lnTo>
              <a:lnTo>
                <a:pt x="716242" y="24861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CB9EE73-804C-4515-99F7-192C9F37A08B}">
      <dsp:nvSpPr>
        <dsp:cNvPr id="0" name=""/>
        <dsp:cNvSpPr/>
      </dsp:nvSpPr>
      <dsp:spPr>
        <a:xfrm>
          <a:off x="2027477" y="1437485"/>
          <a:ext cx="544581" cy="355161"/>
        </a:xfrm>
        <a:custGeom>
          <a:avLst/>
          <a:gdLst/>
          <a:ahLst/>
          <a:cxnLst/>
          <a:rect l="0" t="0" r="0" b="0"/>
          <a:pathLst>
            <a:path>
              <a:moveTo>
                <a:pt x="0" y="0"/>
              </a:moveTo>
              <a:lnTo>
                <a:pt x="0" y="355161"/>
              </a:lnTo>
              <a:lnTo>
                <a:pt x="544581" y="35516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12A1FE-C343-4937-81F5-8E080B79A21D}">
      <dsp:nvSpPr>
        <dsp:cNvPr id="0" name=""/>
        <dsp:cNvSpPr/>
      </dsp:nvSpPr>
      <dsp:spPr>
        <a:xfrm>
          <a:off x="2027477" y="596935"/>
          <a:ext cx="716242" cy="248613"/>
        </a:xfrm>
        <a:custGeom>
          <a:avLst/>
          <a:gdLst/>
          <a:ahLst/>
          <a:cxnLst/>
          <a:rect l="0" t="0" r="0" b="0"/>
          <a:pathLst>
            <a:path>
              <a:moveTo>
                <a:pt x="716242" y="0"/>
              </a:moveTo>
              <a:lnTo>
                <a:pt x="716242" y="124306"/>
              </a:lnTo>
              <a:lnTo>
                <a:pt x="0" y="124306"/>
              </a:lnTo>
              <a:lnTo>
                <a:pt x="0" y="24861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1DD409-F2FE-4206-AAB4-79AF4E71A176}">
      <dsp:nvSpPr>
        <dsp:cNvPr id="0" name=""/>
        <dsp:cNvSpPr/>
      </dsp:nvSpPr>
      <dsp:spPr>
        <a:xfrm>
          <a:off x="594991" y="1437485"/>
          <a:ext cx="544581" cy="2036260"/>
        </a:xfrm>
        <a:custGeom>
          <a:avLst/>
          <a:gdLst/>
          <a:ahLst/>
          <a:cxnLst/>
          <a:rect l="0" t="0" r="0" b="0"/>
          <a:pathLst>
            <a:path>
              <a:moveTo>
                <a:pt x="0" y="0"/>
              </a:moveTo>
              <a:lnTo>
                <a:pt x="0" y="2036260"/>
              </a:lnTo>
              <a:lnTo>
                <a:pt x="544581" y="203626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0ABC8FE-B6B2-4E9E-B6D6-FD34D5490060}">
      <dsp:nvSpPr>
        <dsp:cNvPr id="0" name=""/>
        <dsp:cNvSpPr/>
      </dsp:nvSpPr>
      <dsp:spPr>
        <a:xfrm>
          <a:off x="594991" y="1437485"/>
          <a:ext cx="544581" cy="1195711"/>
        </a:xfrm>
        <a:custGeom>
          <a:avLst/>
          <a:gdLst/>
          <a:ahLst/>
          <a:cxnLst/>
          <a:rect l="0" t="0" r="0" b="0"/>
          <a:pathLst>
            <a:path>
              <a:moveTo>
                <a:pt x="0" y="0"/>
              </a:moveTo>
              <a:lnTo>
                <a:pt x="0" y="1195711"/>
              </a:lnTo>
              <a:lnTo>
                <a:pt x="544581" y="119571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222C8-0F14-4A41-8058-77E7BBA2DEF1}">
      <dsp:nvSpPr>
        <dsp:cNvPr id="0" name=""/>
        <dsp:cNvSpPr/>
      </dsp:nvSpPr>
      <dsp:spPr>
        <a:xfrm>
          <a:off x="594991" y="1437485"/>
          <a:ext cx="544581" cy="355161"/>
        </a:xfrm>
        <a:custGeom>
          <a:avLst/>
          <a:gdLst/>
          <a:ahLst/>
          <a:cxnLst/>
          <a:rect l="0" t="0" r="0" b="0"/>
          <a:pathLst>
            <a:path>
              <a:moveTo>
                <a:pt x="0" y="0"/>
              </a:moveTo>
              <a:lnTo>
                <a:pt x="0" y="355161"/>
              </a:lnTo>
              <a:lnTo>
                <a:pt x="544581" y="35516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081699-EA89-4C5E-895C-4FDBCB517000}">
      <dsp:nvSpPr>
        <dsp:cNvPr id="0" name=""/>
        <dsp:cNvSpPr/>
      </dsp:nvSpPr>
      <dsp:spPr>
        <a:xfrm>
          <a:off x="594991" y="596935"/>
          <a:ext cx="2148728" cy="248613"/>
        </a:xfrm>
        <a:custGeom>
          <a:avLst/>
          <a:gdLst/>
          <a:ahLst/>
          <a:cxnLst/>
          <a:rect l="0" t="0" r="0" b="0"/>
          <a:pathLst>
            <a:path>
              <a:moveTo>
                <a:pt x="2148728" y="0"/>
              </a:moveTo>
              <a:lnTo>
                <a:pt x="2148728" y="124306"/>
              </a:lnTo>
              <a:lnTo>
                <a:pt x="0" y="124306"/>
              </a:lnTo>
              <a:lnTo>
                <a:pt x="0" y="24861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4EFF2F-F0F1-4052-BC6F-8B087914CAAC}">
      <dsp:nvSpPr>
        <dsp:cNvPr id="0" name=""/>
        <dsp:cNvSpPr/>
      </dsp:nvSpPr>
      <dsp:spPr>
        <a:xfrm>
          <a:off x="2447752" y="4999"/>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79FE743-DAA3-42EB-98A2-C714E1408F26}">
      <dsp:nvSpPr>
        <dsp:cNvPr id="0" name=""/>
        <dsp:cNvSpPr/>
      </dsp:nvSpPr>
      <dsp:spPr>
        <a:xfrm>
          <a:off x="2447752" y="4999"/>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0C9546-C923-428E-A9D9-24866B317E14}">
      <dsp:nvSpPr>
        <dsp:cNvPr id="0" name=""/>
        <dsp:cNvSpPr/>
      </dsp:nvSpPr>
      <dsp:spPr>
        <a:xfrm>
          <a:off x="2151784" y="111548"/>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Setup</a:t>
          </a:r>
        </a:p>
      </dsp:txBody>
      <dsp:txXfrm>
        <a:off x="2151784" y="111548"/>
        <a:ext cx="1183872" cy="378839"/>
      </dsp:txXfrm>
    </dsp:sp>
    <dsp:sp modelId="{18426A53-18A6-4468-B7C7-C418C8149A58}">
      <dsp:nvSpPr>
        <dsp:cNvPr id="0" name=""/>
        <dsp:cNvSpPr/>
      </dsp:nvSpPr>
      <dsp:spPr>
        <a:xfrm>
          <a:off x="299023" y="845549"/>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E44BB37-E182-498C-A658-DE4AC2F5C978}">
      <dsp:nvSpPr>
        <dsp:cNvPr id="0" name=""/>
        <dsp:cNvSpPr/>
      </dsp:nvSpPr>
      <dsp:spPr>
        <a:xfrm>
          <a:off x="299023" y="845549"/>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B61374-346A-4610-9E60-21496AF0E06F}">
      <dsp:nvSpPr>
        <dsp:cNvPr id="0" name=""/>
        <dsp:cNvSpPr/>
      </dsp:nvSpPr>
      <dsp:spPr>
        <a:xfrm>
          <a:off x="3055" y="952097"/>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Central Config</a:t>
          </a:r>
        </a:p>
      </dsp:txBody>
      <dsp:txXfrm>
        <a:off x="3055" y="952097"/>
        <a:ext cx="1183872" cy="378839"/>
      </dsp:txXfrm>
    </dsp:sp>
    <dsp:sp modelId="{F4DFFF0D-AE9D-4AED-BE2F-314588CAD31E}">
      <dsp:nvSpPr>
        <dsp:cNvPr id="0" name=""/>
        <dsp:cNvSpPr/>
      </dsp:nvSpPr>
      <dsp:spPr>
        <a:xfrm>
          <a:off x="1068540" y="1686098"/>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01E4A10-1F64-457B-987F-86D9FB8C1600}">
      <dsp:nvSpPr>
        <dsp:cNvPr id="0" name=""/>
        <dsp:cNvSpPr/>
      </dsp:nvSpPr>
      <dsp:spPr>
        <a:xfrm>
          <a:off x="1068540" y="1686098"/>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2046DE-E241-4796-A0AE-40986BECF875}">
      <dsp:nvSpPr>
        <dsp:cNvPr id="0" name=""/>
        <dsp:cNvSpPr/>
      </dsp:nvSpPr>
      <dsp:spPr>
        <a:xfrm>
          <a:off x="772572" y="1792647"/>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Data Bank Location</a:t>
          </a:r>
        </a:p>
      </dsp:txBody>
      <dsp:txXfrm>
        <a:off x="772572" y="1792647"/>
        <a:ext cx="1183872" cy="378839"/>
      </dsp:txXfrm>
    </dsp:sp>
    <dsp:sp modelId="{6635796E-4650-4B3A-856F-E7300EAF59AD}">
      <dsp:nvSpPr>
        <dsp:cNvPr id="0" name=""/>
        <dsp:cNvSpPr/>
      </dsp:nvSpPr>
      <dsp:spPr>
        <a:xfrm>
          <a:off x="1068540" y="2526648"/>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576F5-2C2E-4375-8D81-3FDAF8709F6C}">
      <dsp:nvSpPr>
        <dsp:cNvPr id="0" name=""/>
        <dsp:cNvSpPr/>
      </dsp:nvSpPr>
      <dsp:spPr>
        <a:xfrm>
          <a:off x="1068540" y="2526648"/>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A7B688-D80B-4849-88A0-DBC762A5BB96}">
      <dsp:nvSpPr>
        <dsp:cNvPr id="0" name=""/>
        <dsp:cNvSpPr/>
      </dsp:nvSpPr>
      <dsp:spPr>
        <a:xfrm>
          <a:off x="772572" y="2633196"/>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MongoDB</a:t>
          </a:r>
        </a:p>
      </dsp:txBody>
      <dsp:txXfrm>
        <a:off x="772572" y="2633196"/>
        <a:ext cx="1183872" cy="378839"/>
      </dsp:txXfrm>
    </dsp:sp>
    <dsp:sp modelId="{E1720798-1799-4D5F-B77B-E0B2804855CD}">
      <dsp:nvSpPr>
        <dsp:cNvPr id="0" name=""/>
        <dsp:cNvSpPr/>
      </dsp:nvSpPr>
      <dsp:spPr>
        <a:xfrm>
          <a:off x="1068540" y="3367198"/>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D027C5-A72A-4432-951F-126A58FEDF3A}">
      <dsp:nvSpPr>
        <dsp:cNvPr id="0" name=""/>
        <dsp:cNvSpPr/>
      </dsp:nvSpPr>
      <dsp:spPr>
        <a:xfrm>
          <a:off x="1068540" y="3367198"/>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CFE54E-10EC-4E73-8067-070122947BA0}">
      <dsp:nvSpPr>
        <dsp:cNvPr id="0" name=""/>
        <dsp:cNvSpPr/>
      </dsp:nvSpPr>
      <dsp:spPr>
        <a:xfrm>
          <a:off x="772572" y="3473746"/>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mbria" panose="02040503050406030204" pitchFamily="18" charset="0"/>
              <a:ea typeface="Cambria" panose="02040503050406030204" pitchFamily="18" charset="0"/>
            </a:rPr>
            <a:t>MySQL</a:t>
          </a:r>
          <a:endParaRPr lang="en-US" sz="1400" b="1" kern="1200" dirty="0">
            <a:latin typeface="Cambria" panose="02040503050406030204" pitchFamily="18" charset="0"/>
            <a:ea typeface="Cambria" panose="02040503050406030204" pitchFamily="18" charset="0"/>
          </a:endParaRPr>
        </a:p>
      </dsp:txBody>
      <dsp:txXfrm>
        <a:off x="772572" y="3473746"/>
        <a:ext cx="1183872" cy="378839"/>
      </dsp:txXfrm>
    </dsp:sp>
    <dsp:sp modelId="{7223C71C-F31B-4CB2-94FF-BD84EF9114BC}">
      <dsp:nvSpPr>
        <dsp:cNvPr id="0" name=""/>
        <dsp:cNvSpPr/>
      </dsp:nvSpPr>
      <dsp:spPr>
        <a:xfrm>
          <a:off x="1731509" y="845549"/>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568149B-D81D-4FDC-8390-0501304D6367}">
      <dsp:nvSpPr>
        <dsp:cNvPr id="0" name=""/>
        <dsp:cNvSpPr/>
      </dsp:nvSpPr>
      <dsp:spPr>
        <a:xfrm>
          <a:off x="1731509" y="845549"/>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74AFA3-14FD-45FC-9DAB-4CB0819C6741}">
      <dsp:nvSpPr>
        <dsp:cNvPr id="0" name=""/>
        <dsp:cNvSpPr/>
      </dsp:nvSpPr>
      <dsp:spPr>
        <a:xfrm>
          <a:off x="1435541" y="952097"/>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Jira Config</a:t>
          </a:r>
        </a:p>
      </dsp:txBody>
      <dsp:txXfrm>
        <a:off x="1435541" y="952097"/>
        <a:ext cx="1183872" cy="378839"/>
      </dsp:txXfrm>
    </dsp:sp>
    <dsp:sp modelId="{16378FFA-F81A-41F1-A174-43311673CD4D}">
      <dsp:nvSpPr>
        <dsp:cNvPr id="0" name=""/>
        <dsp:cNvSpPr/>
      </dsp:nvSpPr>
      <dsp:spPr>
        <a:xfrm>
          <a:off x="2501026" y="1686098"/>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B11F10-CE3C-439D-9719-1280FB153B1A}">
      <dsp:nvSpPr>
        <dsp:cNvPr id="0" name=""/>
        <dsp:cNvSpPr/>
      </dsp:nvSpPr>
      <dsp:spPr>
        <a:xfrm>
          <a:off x="2501026" y="1686098"/>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C4F435-E489-4284-B769-0745AC60AB50}">
      <dsp:nvSpPr>
        <dsp:cNvPr id="0" name=""/>
        <dsp:cNvSpPr/>
      </dsp:nvSpPr>
      <dsp:spPr>
        <a:xfrm>
          <a:off x="2205058" y="1792647"/>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Inventory</a:t>
          </a:r>
        </a:p>
      </dsp:txBody>
      <dsp:txXfrm>
        <a:off x="2205058" y="1792647"/>
        <a:ext cx="1183872" cy="378839"/>
      </dsp:txXfrm>
    </dsp:sp>
    <dsp:sp modelId="{97E31FF0-BADC-4A72-81E9-A3ED99F74BBB}">
      <dsp:nvSpPr>
        <dsp:cNvPr id="0" name=""/>
        <dsp:cNvSpPr/>
      </dsp:nvSpPr>
      <dsp:spPr>
        <a:xfrm>
          <a:off x="3163995" y="845549"/>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A89E6A-0F9F-4299-919F-EBFF3D9A2443}">
      <dsp:nvSpPr>
        <dsp:cNvPr id="0" name=""/>
        <dsp:cNvSpPr/>
      </dsp:nvSpPr>
      <dsp:spPr>
        <a:xfrm>
          <a:off x="3163995" y="845549"/>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CDDD1E-0D5A-4074-AE19-68023275F24C}">
      <dsp:nvSpPr>
        <dsp:cNvPr id="0" name=""/>
        <dsp:cNvSpPr/>
      </dsp:nvSpPr>
      <dsp:spPr>
        <a:xfrm>
          <a:off x="2868027" y="952097"/>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Jira Config</a:t>
          </a:r>
        </a:p>
      </dsp:txBody>
      <dsp:txXfrm>
        <a:off x="2868027" y="952097"/>
        <a:ext cx="1183872" cy="378839"/>
      </dsp:txXfrm>
    </dsp:sp>
    <dsp:sp modelId="{77EBC645-B794-4D7B-8DC9-46AB2A9F7CA7}">
      <dsp:nvSpPr>
        <dsp:cNvPr id="0" name=""/>
        <dsp:cNvSpPr/>
      </dsp:nvSpPr>
      <dsp:spPr>
        <a:xfrm>
          <a:off x="3933512" y="1686098"/>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A5B227-4FA0-4496-B388-D01DD79D96A8}">
      <dsp:nvSpPr>
        <dsp:cNvPr id="0" name=""/>
        <dsp:cNvSpPr/>
      </dsp:nvSpPr>
      <dsp:spPr>
        <a:xfrm>
          <a:off x="3933512" y="1686098"/>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D02CD8A-7F71-482A-8B38-8B8980F8B64D}">
      <dsp:nvSpPr>
        <dsp:cNvPr id="0" name=""/>
        <dsp:cNvSpPr/>
      </dsp:nvSpPr>
      <dsp:spPr>
        <a:xfrm>
          <a:off x="3637544" y="1792647"/>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ADE</a:t>
          </a:r>
        </a:p>
      </dsp:txBody>
      <dsp:txXfrm>
        <a:off x="3637544" y="1792647"/>
        <a:ext cx="1183872" cy="378839"/>
      </dsp:txXfrm>
    </dsp:sp>
    <dsp:sp modelId="{F1BD8270-6C45-44DE-8A9A-67C727698D1B}">
      <dsp:nvSpPr>
        <dsp:cNvPr id="0" name=""/>
        <dsp:cNvSpPr/>
      </dsp:nvSpPr>
      <dsp:spPr>
        <a:xfrm>
          <a:off x="4596481" y="845549"/>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82BF51-A7D0-47ED-B893-99C93713FB82}">
      <dsp:nvSpPr>
        <dsp:cNvPr id="0" name=""/>
        <dsp:cNvSpPr/>
      </dsp:nvSpPr>
      <dsp:spPr>
        <a:xfrm>
          <a:off x="4596481" y="845549"/>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D2934F-9993-455C-80FC-D6D1AF638DDB}">
      <dsp:nvSpPr>
        <dsp:cNvPr id="0" name=""/>
        <dsp:cNvSpPr/>
      </dsp:nvSpPr>
      <dsp:spPr>
        <a:xfrm>
          <a:off x="4300512" y="952097"/>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Jira Config</a:t>
          </a:r>
        </a:p>
      </dsp:txBody>
      <dsp:txXfrm>
        <a:off x="4300512" y="952097"/>
        <a:ext cx="1183872" cy="378839"/>
      </dsp:txXfrm>
    </dsp:sp>
    <dsp:sp modelId="{8797A065-45A7-4C69-92D3-B427935F7ED5}">
      <dsp:nvSpPr>
        <dsp:cNvPr id="0" name=""/>
        <dsp:cNvSpPr/>
      </dsp:nvSpPr>
      <dsp:spPr>
        <a:xfrm>
          <a:off x="5365998" y="1686098"/>
          <a:ext cx="591936" cy="591936"/>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651F6EF-0F95-4FC6-A0E3-1EECFC1B87BF}">
      <dsp:nvSpPr>
        <dsp:cNvPr id="0" name=""/>
        <dsp:cNvSpPr/>
      </dsp:nvSpPr>
      <dsp:spPr>
        <a:xfrm>
          <a:off x="5365998" y="1686098"/>
          <a:ext cx="591936" cy="591936"/>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C49D7B-D231-4BDF-AE6C-439CD73AABE9}">
      <dsp:nvSpPr>
        <dsp:cNvPr id="0" name=""/>
        <dsp:cNvSpPr/>
      </dsp:nvSpPr>
      <dsp:spPr>
        <a:xfrm>
          <a:off x="5070030" y="1792647"/>
          <a:ext cx="1183872" cy="37883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mbria" panose="02040503050406030204" pitchFamily="18" charset="0"/>
              <a:ea typeface="Cambria" panose="02040503050406030204" pitchFamily="18" charset="0"/>
            </a:rPr>
            <a:t>ADR</a:t>
          </a:r>
        </a:p>
      </dsp:txBody>
      <dsp:txXfrm>
        <a:off x="5070030" y="1792647"/>
        <a:ext cx="1183872" cy="3788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CA82BE-BDF4-4B56-AEF1-528D74C5B190}">
      <dsp:nvSpPr>
        <dsp:cNvPr id="0" name=""/>
        <dsp:cNvSpPr/>
      </dsp:nvSpPr>
      <dsp:spPr>
        <a:xfrm>
          <a:off x="2845128" y="0"/>
          <a:ext cx="1218199" cy="200890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dirty="0"/>
            <a:t>Documents and Processes</a:t>
          </a:r>
        </a:p>
      </dsp:txBody>
      <dsp:txXfrm>
        <a:off x="2845128" y="0"/>
        <a:ext cx="1218199" cy="602671"/>
      </dsp:txXfrm>
    </dsp:sp>
    <dsp:sp modelId="{69D9F320-BEE6-4222-94F6-9DDB6F878000}">
      <dsp:nvSpPr>
        <dsp:cNvPr id="0" name=""/>
        <dsp:cNvSpPr/>
      </dsp:nvSpPr>
      <dsp:spPr>
        <a:xfrm>
          <a:off x="1422900" y="0"/>
          <a:ext cx="1218199" cy="200890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dirty="0"/>
            <a:t>Config Linked Jira ID based directory</a:t>
          </a:r>
        </a:p>
      </dsp:txBody>
      <dsp:txXfrm>
        <a:off x="1422900" y="0"/>
        <a:ext cx="1218199" cy="602671"/>
      </dsp:txXfrm>
    </dsp:sp>
    <dsp:sp modelId="{AD1F04C7-2D41-4B88-B456-136756BACD57}">
      <dsp:nvSpPr>
        <dsp:cNvPr id="0" name=""/>
        <dsp:cNvSpPr/>
      </dsp:nvSpPr>
      <dsp:spPr>
        <a:xfrm>
          <a:off x="671" y="0"/>
          <a:ext cx="1218199" cy="200890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dirty="0"/>
            <a:t>Data Bank</a:t>
          </a:r>
        </a:p>
      </dsp:txBody>
      <dsp:txXfrm>
        <a:off x="671" y="0"/>
        <a:ext cx="1218199" cy="602671"/>
      </dsp:txXfrm>
    </dsp:sp>
    <dsp:sp modelId="{61424C71-74EA-4336-9C25-2A9C2523C678}">
      <dsp:nvSpPr>
        <dsp:cNvPr id="0" name=""/>
        <dsp:cNvSpPr/>
      </dsp:nvSpPr>
      <dsp:spPr>
        <a:xfrm>
          <a:off x="102686" y="1010573"/>
          <a:ext cx="1020147" cy="5100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ADE</a:t>
          </a:r>
        </a:p>
      </dsp:txBody>
      <dsp:txXfrm>
        <a:off x="117626" y="1025513"/>
        <a:ext cx="990267" cy="480193"/>
      </dsp:txXfrm>
    </dsp:sp>
    <dsp:sp modelId="{19CB7929-0206-4357-A583-4962CE9F1931}">
      <dsp:nvSpPr>
        <dsp:cNvPr id="0" name=""/>
        <dsp:cNvSpPr/>
      </dsp:nvSpPr>
      <dsp:spPr>
        <a:xfrm rot="19457599">
          <a:off x="1075600" y="1096112"/>
          <a:ext cx="502525" cy="45703"/>
        </a:xfrm>
        <a:custGeom>
          <a:avLst/>
          <a:gdLst/>
          <a:ahLst/>
          <a:cxnLst/>
          <a:rect l="0" t="0" r="0" b="0"/>
          <a:pathLst>
            <a:path>
              <a:moveTo>
                <a:pt x="0" y="22851"/>
              </a:moveTo>
              <a:lnTo>
                <a:pt x="502525" y="2285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1314300" y="1106400"/>
        <a:ext cx="25126" cy="25126"/>
      </dsp:txXfrm>
    </dsp:sp>
    <dsp:sp modelId="{ABC25D0F-636F-43D6-B0DE-F0DECEC950B7}">
      <dsp:nvSpPr>
        <dsp:cNvPr id="0" name=""/>
        <dsp:cNvSpPr/>
      </dsp:nvSpPr>
      <dsp:spPr>
        <a:xfrm>
          <a:off x="1530892" y="717281"/>
          <a:ext cx="1020147" cy="5100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ADS-1111</a:t>
          </a:r>
        </a:p>
      </dsp:txBody>
      <dsp:txXfrm>
        <a:off x="1545832" y="732221"/>
        <a:ext cx="990267" cy="480193"/>
      </dsp:txXfrm>
    </dsp:sp>
    <dsp:sp modelId="{F8F08DF1-58F8-48CE-BEA4-5C029A6E4E31}">
      <dsp:nvSpPr>
        <dsp:cNvPr id="0" name=""/>
        <dsp:cNvSpPr/>
      </dsp:nvSpPr>
      <dsp:spPr>
        <a:xfrm>
          <a:off x="2551039" y="949466"/>
          <a:ext cx="408058" cy="45703"/>
        </a:xfrm>
        <a:custGeom>
          <a:avLst/>
          <a:gdLst/>
          <a:ahLst/>
          <a:cxnLst/>
          <a:rect l="0" t="0" r="0" b="0"/>
          <a:pathLst>
            <a:path>
              <a:moveTo>
                <a:pt x="0" y="22851"/>
              </a:moveTo>
              <a:lnTo>
                <a:pt x="408058" y="2285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2744867" y="962116"/>
        <a:ext cx="20402" cy="20402"/>
      </dsp:txXfrm>
    </dsp:sp>
    <dsp:sp modelId="{16046A34-73C5-42FB-B7D7-55F99DFBC8CE}">
      <dsp:nvSpPr>
        <dsp:cNvPr id="0" name=""/>
        <dsp:cNvSpPr/>
      </dsp:nvSpPr>
      <dsp:spPr>
        <a:xfrm>
          <a:off x="2959098" y="717281"/>
          <a:ext cx="1020147" cy="5100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Workspace</a:t>
          </a:r>
        </a:p>
      </dsp:txBody>
      <dsp:txXfrm>
        <a:off x="2974038" y="732221"/>
        <a:ext cx="990267" cy="480193"/>
      </dsp:txXfrm>
    </dsp:sp>
    <dsp:sp modelId="{A629C261-E7DB-4199-8C42-00FBAF62B53A}">
      <dsp:nvSpPr>
        <dsp:cNvPr id="0" name=""/>
        <dsp:cNvSpPr/>
      </dsp:nvSpPr>
      <dsp:spPr>
        <a:xfrm rot="2142401">
          <a:off x="1075600" y="1389404"/>
          <a:ext cx="502525" cy="45703"/>
        </a:xfrm>
        <a:custGeom>
          <a:avLst/>
          <a:gdLst/>
          <a:ahLst/>
          <a:cxnLst/>
          <a:rect l="0" t="0" r="0" b="0"/>
          <a:pathLst>
            <a:path>
              <a:moveTo>
                <a:pt x="0" y="22851"/>
              </a:moveTo>
              <a:lnTo>
                <a:pt x="502525" y="2285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1314300" y="1399693"/>
        <a:ext cx="25126" cy="25126"/>
      </dsp:txXfrm>
    </dsp:sp>
    <dsp:sp modelId="{B8A87BA8-BB96-44DE-94C8-34F106CFA40B}">
      <dsp:nvSpPr>
        <dsp:cNvPr id="0" name=""/>
        <dsp:cNvSpPr/>
      </dsp:nvSpPr>
      <dsp:spPr>
        <a:xfrm>
          <a:off x="1530892" y="1303865"/>
          <a:ext cx="1020147" cy="5100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ADS-2222</a:t>
          </a:r>
        </a:p>
      </dsp:txBody>
      <dsp:txXfrm>
        <a:off x="1545832" y="1318805"/>
        <a:ext cx="990267" cy="480193"/>
      </dsp:txXfrm>
    </dsp:sp>
    <dsp:sp modelId="{F48359C2-4D35-474D-BB8B-015C57D74A55}">
      <dsp:nvSpPr>
        <dsp:cNvPr id="0" name=""/>
        <dsp:cNvSpPr/>
      </dsp:nvSpPr>
      <dsp:spPr>
        <a:xfrm>
          <a:off x="2551039" y="1536050"/>
          <a:ext cx="408058" cy="45703"/>
        </a:xfrm>
        <a:custGeom>
          <a:avLst/>
          <a:gdLst/>
          <a:ahLst/>
          <a:cxnLst/>
          <a:rect l="0" t="0" r="0" b="0"/>
          <a:pathLst>
            <a:path>
              <a:moveTo>
                <a:pt x="0" y="22851"/>
              </a:moveTo>
              <a:lnTo>
                <a:pt x="408058" y="2285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2744867" y="1548700"/>
        <a:ext cx="20402" cy="20402"/>
      </dsp:txXfrm>
    </dsp:sp>
    <dsp:sp modelId="{C98F2D42-9516-4A59-B81F-3274EAADBEFB}">
      <dsp:nvSpPr>
        <dsp:cNvPr id="0" name=""/>
        <dsp:cNvSpPr/>
      </dsp:nvSpPr>
      <dsp:spPr>
        <a:xfrm>
          <a:off x="2959098" y="1303865"/>
          <a:ext cx="1020147" cy="5100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Workspace</a:t>
          </a:r>
        </a:p>
      </dsp:txBody>
      <dsp:txXfrm>
        <a:off x="2974038" y="1318805"/>
        <a:ext cx="990267" cy="4801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EBCFC-AD9C-4A33-9A51-8B025155259B}">
      <dsp:nvSpPr>
        <dsp:cNvPr id="0" name=""/>
        <dsp:cNvSpPr/>
      </dsp:nvSpPr>
      <dsp:spPr>
        <a:xfrm>
          <a:off x="4599090" y="3086267"/>
          <a:ext cx="1964113" cy="449160"/>
        </a:xfrm>
        <a:custGeom>
          <a:avLst/>
          <a:gdLst/>
          <a:ahLst/>
          <a:cxnLst/>
          <a:rect l="0" t="0" r="0" b="0"/>
          <a:pathLst>
            <a:path>
              <a:moveTo>
                <a:pt x="0" y="0"/>
              </a:moveTo>
              <a:lnTo>
                <a:pt x="0" y="301064"/>
              </a:lnTo>
              <a:lnTo>
                <a:pt x="1964113" y="301064"/>
              </a:lnTo>
              <a:lnTo>
                <a:pt x="1964113" y="44916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BF5E17-3861-4D72-84CE-262A677F880A}">
      <dsp:nvSpPr>
        <dsp:cNvPr id="0" name=""/>
        <dsp:cNvSpPr/>
      </dsp:nvSpPr>
      <dsp:spPr>
        <a:xfrm>
          <a:off x="4553370" y="3086267"/>
          <a:ext cx="91440" cy="464935"/>
        </a:xfrm>
        <a:custGeom>
          <a:avLst/>
          <a:gdLst/>
          <a:ahLst/>
          <a:cxnLst/>
          <a:rect l="0" t="0" r="0" b="0"/>
          <a:pathLst>
            <a:path>
              <a:moveTo>
                <a:pt x="45720" y="0"/>
              </a:moveTo>
              <a:lnTo>
                <a:pt x="45720" y="4649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BE6B0A-E99E-48C9-B7E0-00D6A8F4D0BF}">
      <dsp:nvSpPr>
        <dsp:cNvPr id="0" name=""/>
        <dsp:cNvSpPr/>
      </dsp:nvSpPr>
      <dsp:spPr>
        <a:xfrm>
          <a:off x="2645207" y="3086267"/>
          <a:ext cx="1953882" cy="464935"/>
        </a:xfrm>
        <a:custGeom>
          <a:avLst/>
          <a:gdLst/>
          <a:ahLst/>
          <a:cxnLst/>
          <a:rect l="0" t="0" r="0" b="0"/>
          <a:pathLst>
            <a:path>
              <a:moveTo>
                <a:pt x="1953882" y="0"/>
              </a:moveTo>
              <a:lnTo>
                <a:pt x="1953882" y="316839"/>
              </a:lnTo>
              <a:lnTo>
                <a:pt x="0" y="316839"/>
              </a:lnTo>
              <a:lnTo>
                <a:pt x="0" y="4649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57B619-3AE0-4F35-A1AC-0C0423A8FCB0}">
      <dsp:nvSpPr>
        <dsp:cNvPr id="0" name=""/>
        <dsp:cNvSpPr/>
      </dsp:nvSpPr>
      <dsp:spPr>
        <a:xfrm>
          <a:off x="3799774" y="1357499"/>
          <a:ext cx="1598631" cy="172876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41F641A-D553-404F-8F4A-7CFF1A47028C}">
      <dsp:nvSpPr>
        <dsp:cNvPr id="0" name=""/>
        <dsp:cNvSpPr/>
      </dsp:nvSpPr>
      <dsp:spPr>
        <a:xfrm>
          <a:off x="3977400" y="1526243"/>
          <a:ext cx="1598631" cy="172876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Cambria" panose="02040503050406030204" pitchFamily="18" charset="0"/>
              <a:ea typeface="Cambria" panose="02040503050406030204" pitchFamily="18" charset="0"/>
            </a:rPr>
            <a:t>Data Bank Repository</a:t>
          </a:r>
          <a:endParaRPr lang="en-US" sz="1400" kern="1200" dirty="0">
            <a:latin typeface="Cambria" panose="02040503050406030204" pitchFamily="18" charset="0"/>
            <a:ea typeface="Cambria" panose="02040503050406030204" pitchFamily="18" charset="0"/>
          </a:endParaRPr>
        </a:p>
        <a:p>
          <a:pPr marL="0" lvl="0" indent="0" algn="ctr" defTabSz="800100">
            <a:lnSpc>
              <a:spcPct val="90000"/>
            </a:lnSpc>
            <a:spcBef>
              <a:spcPct val="0"/>
            </a:spcBef>
            <a:spcAft>
              <a:spcPct val="35000"/>
            </a:spcAft>
            <a:buNone/>
          </a:pPr>
          <a:r>
            <a:rPr lang="en-US" sz="1400" kern="1200" dirty="0">
              <a:latin typeface="Cambria" panose="02040503050406030204" pitchFamily="18" charset="0"/>
              <a:ea typeface="Cambria" panose="02040503050406030204" pitchFamily="18" charset="0"/>
            </a:rPr>
            <a:t>Scripts | Tools | Configuration</a:t>
          </a:r>
        </a:p>
      </dsp:txBody>
      <dsp:txXfrm>
        <a:off x="4024222" y="1573065"/>
        <a:ext cx="1504987" cy="1635123"/>
      </dsp:txXfrm>
    </dsp:sp>
    <dsp:sp modelId="{18D91F32-0498-4CF2-BE69-D36D53ED18AC}">
      <dsp:nvSpPr>
        <dsp:cNvPr id="0" name=""/>
        <dsp:cNvSpPr/>
      </dsp:nvSpPr>
      <dsp:spPr>
        <a:xfrm>
          <a:off x="1845892" y="3551202"/>
          <a:ext cx="1598631" cy="10151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6680D7-7BE0-470D-A838-7A4D4FCEE932}">
      <dsp:nvSpPr>
        <dsp:cNvPr id="0" name=""/>
        <dsp:cNvSpPr/>
      </dsp:nvSpPr>
      <dsp:spPr>
        <a:xfrm>
          <a:off x="2023517" y="3719946"/>
          <a:ext cx="1598631" cy="101513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ea typeface="Cambria" panose="02040503050406030204" pitchFamily="18" charset="0"/>
            </a:rPr>
            <a:t>Data Bank</a:t>
          </a:r>
        </a:p>
        <a:p>
          <a:pPr marL="0" lvl="0" indent="0" algn="ctr" defTabSz="889000">
            <a:lnSpc>
              <a:spcPct val="90000"/>
            </a:lnSpc>
            <a:spcBef>
              <a:spcPct val="0"/>
            </a:spcBef>
            <a:spcAft>
              <a:spcPct val="35000"/>
            </a:spcAft>
            <a:buNone/>
          </a:pPr>
          <a:r>
            <a:rPr lang="en-US" sz="2000" kern="1200" dirty="0">
              <a:latin typeface="Cambria" panose="02040503050406030204" pitchFamily="18" charset="0"/>
              <a:ea typeface="Cambria" panose="02040503050406030204" pitchFamily="18" charset="0"/>
            </a:rPr>
            <a:t>On VM</a:t>
          </a:r>
        </a:p>
      </dsp:txBody>
      <dsp:txXfrm>
        <a:off x="2053249" y="3749678"/>
        <a:ext cx="1539167" cy="955666"/>
      </dsp:txXfrm>
    </dsp:sp>
    <dsp:sp modelId="{A5D36987-2FC2-4FC5-A5E9-B908A3C6EF1F}">
      <dsp:nvSpPr>
        <dsp:cNvPr id="0" name=""/>
        <dsp:cNvSpPr/>
      </dsp:nvSpPr>
      <dsp:spPr>
        <a:xfrm>
          <a:off x="3799774" y="3551202"/>
          <a:ext cx="1598631" cy="10151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4D5D72-BDCD-41A8-B5FE-26640512C519}">
      <dsp:nvSpPr>
        <dsp:cNvPr id="0" name=""/>
        <dsp:cNvSpPr/>
      </dsp:nvSpPr>
      <dsp:spPr>
        <a:xfrm>
          <a:off x="3977400" y="3719946"/>
          <a:ext cx="1598631" cy="101513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ea typeface="Cambria" panose="02040503050406030204" pitchFamily="18" charset="0"/>
            </a:rPr>
            <a:t>Data Bank on AWS</a:t>
          </a:r>
        </a:p>
      </dsp:txBody>
      <dsp:txXfrm>
        <a:off x="4007132" y="3749678"/>
        <a:ext cx="1539167" cy="955666"/>
      </dsp:txXfrm>
    </dsp:sp>
    <dsp:sp modelId="{82C29AB3-B67D-44FB-A5E6-D5AF07434FB8}">
      <dsp:nvSpPr>
        <dsp:cNvPr id="0" name=""/>
        <dsp:cNvSpPr/>
      </dsp:nvSpPr>
      <dsp:spPr>
        <a:xfrm>
          <a:off x="5763888" y="3535427"/>
          <a:ext cx="1598631" cy="10151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3D08CD-5BDD-4C73-9B3C-F00BDE6F49BA}">
      <dsp:nvSpPr>
        <dsp:cNvPr id="0" name=""/>
        <dsp:cNvSpPr/>
      </dsp:nvSpPr>
      <dsp:spPr>
        <a:xfrm>
          <a:off x="5941514" y="3704171"/>
          <a:ext cx="1598631" cy="101513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ea typeface="Cambria" panose="02040503050406030204" pitchFamily="18" charset="0"/>
            </a:rPr>
            <a:t>Data Bank on qumsfs</a:t>
          </a:r>
        </a:p>
      </dsp:txBody>
      <dsp:txXfrm>
        <a:off x="5971246" y="3733903"/>
        <a:ext cx="1539167" cy="955666"/>
      </dsp:txXfrm>
    </dsp:sp>
    <dsp:sp modelId="{832FB935-8638-4409-A2D3-AAAB67D75A16}">
      <dsp:nvSpPr>
        <dsp:cNvPr id="0" name=""/>
        <dsp:cNvSpPr/>
      </dsp:nvSpPr>
      <dsp:spPr>
        <a:xfrm>
          <a:off x="5717144" y="1286419"/>
          <a:ext cx="1598631" cy="10151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4F0B72-D7E8-4D54-86EC-C46E29000C1C}">
      <dsp:nvSpPr>
        <dsp:cNvPr id="0" name=""/>
        <dsp:cNvSpPr/>
      </dsp:nvSpPr>
      <dsp:spPr>
        <a:xfrm>
          <a:off x="5894770" y="1455164"/>
          <a:ext cx="1598631" cy="101513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Cambria" panose="02040503050406030204" pitchFamily="18" charset="0"/>
              <a:ea typeface="Cambria" panose="02040503050406030204" pitchFamily="18" charset="0"/>
            </a:rPr>
            <a:t>MySQL</a:t>
          </a:r>
        </a:p>
      </dsp:txBody>
      <dsp:txXfrm>
        <a:off x="5924502" y="1484896"/>
        <a:ext cx="1539167" cy="955666"/>
      </dsp:txXfrm>
    </dsp:sp>
    <dsp:sp modelId="{22E66F3F-6A56-4CDE-B982-B7B1365186A1}">
      <dsp:nvSpPr>
        <dsp:cNvPr id="0" name=""/>
        <dsp:cNvSpPr/>
      </dsp:nvSpPr>
      <dsp:spPr>
        <a:xfrm>
          <a:off x="1854263" y="1286419"/>
          <a:ext cx="1598631" cy="10151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142CB7-06F2-4B58-9885-204A7888FA00}">
      <dsp:nvSpPr>
        <dsp:cNvPr id="0" name=""/>
        <dsp:cNvSpPr/>
      </dsp:nvSpPr>
      <dsp:spPr>
        <a:xfrm>
          <a:off x="2031889" y="1455164"/>
          <a:ext cx="1598631" cy="101513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Cambria" panose="02040503050406030204" pitchFamily="18" charset="0"/>
              <a:ea typeface="Cambria" panose="02040503050406030204" pitchFamily="18" charset="0"/>
            </a:rPr>
            <a:t>MongoDB</a:t>
          </a:r>
        </a:p>
      </dsp:txBody>
      <dsp:txXfrm>
        <a:off x="2061621" y="1484896"/>
        <a:ext cx="1539167" cy="955666"/>
      </dsp:txXfrm>
    </dsp:sp>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745FFE2-3903-4C48-A00F-9285C51B75D1}" type="datetimeFigureOut">
              <a:rPr lang="en-US" smtClean="0"/>
              <a:pPr/>
              <a:t>8/17/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6762199-B653-8447-B141-DBF6FF2DBB95}" type="slidenum">
              <a:rPr lang="en-US" smtClean="0"/>
              <a:pPr/>
              <a:t>‹#›</a:t>
            </a:fld>
            <a:endParaRPr lang="en-US" dirty="0"/>
          </a:p>
        </p:txBody>
      </p:sp>
    </p:spTree>
    <p:extLst>
      <p:ext uri="{BB962C8B-B14F-4D97-AF65-F5344CB8AC3E}">
        <p14:creationId xmlns:p14="http://schemas.microsoft.com/office/powerpoint/2010/main" val="2259425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47725" y="352696"/>
            <a:ext cx="2971800" cy="355917"/>
          </a:xfrm>
          <a:prstGeom prst="rect">
            <a:avLst/>
          </a:prstGeom>
        </p:spPr>
        <p:txBody>
          <a:bodyPr vert="horz" lIns="91440" tIns="45720" rIns="91440" bIns="45720" rtlCol="0"/>
          <a:lstStyle>
            <a:lvl1pPr algn="l">
              <a:defRPr sz="1200">
                <a:solidFill>
                  <a:schemeClr val="tx1"/>
                </a:solidFill>
              </a:defRPr>
            </a:lvl1pPr>
          </a:lstStyle>
          <a:p>
            <a:endParaRPr lang="en-US" dirty="0"/>
          </a:p>
        </p:txBody>
      </p:sp>
      <p:sp>
        <p:nvSpPr>
          <p:cNvPr id="4" name="Slide Image Placeholder 3"/>
          <p:cNvSpPr>
            <a:spLocks noGrp="1" noRot="1" noChangeAspect="1"/>
          </p:cNvSpPr>
          <p:nvPr>
            <p:ph type="sldImg" idx="2"/>
          </p:nvPr>
        </p:nvSpPr>
        <p:spPr>
          <a:xfrm>
            <a:off x="447726" y="708614"/>
            <a:ext cx="5962549" cy="3353934"/>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47725" y="4411666"/>
            <a:ext cx="5962549" cy="3948562"/>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379344" y="8705599"/>
            <a:ext cx="3420564" cy="242458"/>
          </a:xfrm>
          <a:prstGeom prst="rect">
            <a:avLst/>
          </a:prstGeom>
        </p:spPr>
        <p:txBody>
          <a:bodyPr vert="horz" lIns="91440" tIns="45720" rIns="91440" bIns="45720" rtlCol="0" anchor="b"/>
          <a:lstStyle>
            <a:lvl1pPr algn="l">
              <a:defRPr sz="1000">
                <a:solidFill>
                  <a:schemeClr val="bg2"/>
                </a:solidFill>
              </a:defRPr>
            </a:lvl1pPr>
          </a:lstStyle>
          <a:p>
            <a:endParaRPr lang="en-US" dirty="0"/>
          </a:p>
        </p:txBody>
      </p:sp>
      <p:sp>
        <p:nvSpPr>
          <p:cNvPr id="7" name="Slide Number Placeholder 6"/>
          <p:cNvSpPr>
            <a:spLocks noGrp="1"/>
          </p:cNvSpPr>
          <p:nvPr>
            <p:ph type="sldNum" sz="quarter" idx="5"/>
          </p:nvPr>
        </p:nvSpPr>
        <p:spPr>
          <a:xfrm>
            <a:off x="5799908" y="8705599"/>
            <a:ext cx="610365" cy="242458"/>
          </a:xfrm>
          <a:prstGeom prst="rect">
            <a:avLst/>
          </a:prstGeom>
        </p:spPr>
        <p:txBody>
          <a:bodyPr vert="horz" lIns="91440" tIns="45720" rIns="91440" bIns="45720" rtlCol="0" anchor="b"/>
          <a:lstStyle>
            <a:lvl1pPr algn="r">
              <a:defRPr sz="1000">
                <a:solidFill>
                  <a:schemeClr val="bg2"/>
                </a:solidFill>
              </a:defRPr>
            </a:lvl1pPr>
          </a:lstStyle>
          <a:p>
            <a:fld id="{FEA4495E-A564-4441-8B09-831F7FCF7119}" type="slidenum">
              <a:rPr lang="en-US" smtClean="0"/>
              <a:pPr/>
              <a:t>‹#›</a:t>
            </a:fld>
            <a:endParaRPr lang="en-US" dirty="0"/>
          </a:p>
        </p:txBody>
      </p:sp>
      <p:grpSp>
        <p:nvGrpSpPr>
          <p:cNvPr id="8" name="Group 7">
            <a:extLst>
              <a:ext uri="{FF2B5EF4-FFF2-40B4-BE49-F238E27FC236}">
                <a16:creationId xmlns:a16="http://schemas.microsoft.com/office/drawing/2014/main" id="{8CF91731-7857-4708-870F-B33D6CF94035}"/>
              </a:ext>
            </a:extLst>
          </p:cNvPr>
          <p:cNvGrpSpPr/>
          <p:nvPr/>
        </p:nvGrpSpPr>
        <p:grpSpPr>
          <a:xfrm>
            <a:off x="447725" y="4247058"/>
            <a:ext cx="5962549" cy="99293"/>
            <a:chOff x="685800" y="1230120"/>
            <a:chExt cx="10820400" cy="180189"/>
          </a:xfrm>
        </p:grpSpPr>
        <p:pic>
          <p:nvPicPr>
            <p:cNvPr id="9" name="Picture 8">
              <a:extLst>
                <a:ext uri="{FF2B5EF4-FFF2-40B4-BE49-F238E27FC236}">
                  <a16:creationId xmlns:a16="http://schemas.microsoft.com/office/drawing/2014/main" id="{79E88707-4B88-4B30-9748-E7ECF69602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1230120"/>
              <a:ext cx="10820400" cy="180189"/>
            </a:xfrm>
            <a:prstGeom prst="rect">
              <a:avLst/>
            </a:prstGeom>
          </p:spPr>
        </p:pic>
        <p:cxnSp>
          <p:nvCxnSpPr>
            <p:cNvPr id="10" name="Straight Connector 9">
              <a:extLst>
                <a:ext uri="{FF2B5EF4-FFF2-40B4-BE49-F238E27FC236}">
                  <a16:creationId xmlns:a16="http://schemas.microsoft.com/office/drawing/2014/main" id="{58521953-B8D0-45EB-8017-ABD4303F9FAB}"/>
                </a:ext>
              </a:extLst>
            </p:cNvPr>
            <p:cNvCxnSpPr>
              <a:cxnSpLocks/>
            </p:cNvCxnSpPr>
            <p:nvPr/>
          </p:nvCxnSpPr>
          <p:spPr>
            <a:xfrm>
              <a:off x="685800" y="1232770"/>
              <a:ext cx="10820400" cy="0"/>
            </a:xfrm>
            <a:prstGeom prst="line">
              <a:avLst/>
            </a:prstGeom>
            <a:ln w="15875"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5728061" y="352696"/>
            <a:ext cx="754057" cy="169918"/>
            <a:chOff x="849562" y="1771904"/>
            <a:chExt cx="1931738" cy="435295"/>
          </a:xfrm>
        </p:grpSpPr>
        <p:sp>
          <p:nvSpPr>
            <p:cNvPr id="12" name="Freeform 11"/>
            <p:cNvSpPr>
              <a:spLocks/>
            </p:cNvSpPr>
            <p:nvPr/>
          </p:nvSpPr>
          <p:spPr bwMode="auto">
            <a:xfrm>
              <a:off x="849562" y="1771904"/>
              <a:ext cx="268222" cy="428973"/>
            </a:xfrm>
            <a:custGeom>
              <a:avLst/>
              <a:gdLst>
                <a:gd name="T0" fmla="*/ 0 w 594"/>
                <a:gd name="T1" fmla="*/ 0 h 950"/>
                <a:gd name="T2" fmla="*/ 594 w 594"/>
                <a:gd name="T3" fmla="*/ 0 h 950"/>
                <a:gd name="T4" fmla="*/ 594 w 594"/>
                <a:gd name="T5" fmla="*/ 184 h 950"/>
                <a:gd name="T6" fmla="*/ 239 w 594"/>
                <a:gd name="T7" fmla="*/ 184 h 950"/>
                <a:gd name="T8" fmla="*/ 239 w 594"/>
                <a:gd name="T9" fmla="*/ 376 h 950"/>
                <a:gd name="T10" fmla="*/ 478 w 594"/>
                <a:gd name="T11" fmla="*/ 376 h 950"/>
                <a:gd name="T12" fmla="*/ 478 w 594"/>
                <a:gd name="T13" fmla="*/ 560 h 950"/>
                <a:gd name="T14" fmla="*/ 239 w 594"/>
                <a:gd name="T15" fmla="*/ 560 h 950"/>
                <a:gd name="T16" fmla="*/ 239 w 594"/>
                <a:gd name="T17" fmla="*/ 757 h 950"/>
                <a:gd name="T18" fmla="*/ 594 w 594"/>
                <a:gd name="T19" fmla="*/ 757 h 950"/>
                <a:gd name="T20" fmla="*/ 594 w 594"/>
                <a:gd name="T21" fmla="*/ 950 h 950"/>
                <a:gd name="T22" fmla="*/ 0 w 594"/>
                <a:gd name="T23" fmla="*/ 950 h 950"/>
                <a:gd name="T24" fmla="*/ 0 w 594"/>
                <a:gd name="T25" fmla="*/ 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4" h="950">
                  <a:moveTo>
                    <a:pt x="0" y="0"/>
                  </a:moveTo>
                  <a:lnTo>
                    <a:pt x="594" y="0"/>
                  </a:lnTo>
                  <a:lnTo>
                    <a:pt x="594" y="184"/>
                  </a:lnTo>
                  <a:lnTo>
                    <a:pt x="239" y="184"/>
                  </a:lnTo>
                  <a:lnTo>
                    <a:pt x="239" y="376"/>
                  </a:lnTo>
                  <a:lnTo>
                    <a:pt x="478" y="376"/>
                  </a:lnTo>
                  <a:lnTo>
                    <a:pt x="478" y="560"/>
                  </a:lnTo>
                  <a:lnTo>
                    <a:pt x="239" y="560"/>
                  </a:lnTo>
                  <a:lnTo>
                    <a:pt x="239" y="757"/>
                  </a:lnTo>
                  <a:lnTo>
                    <a:pt x="594" y="757"/>
                  </a:lnTo>
                  <a:lnTo>
                    <a:pt x="594" y="950"/>
                  </a:lnTo>
                  <a:lnTo>
                    <a:pt x="0" y="950"/>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Rectangle 12"/>
            <p:cNvSpPr>
              <a:spLocks noChangeArrowheads="1"/>
            </p:cNvSpPr>
            <p:nvPr/>
          </p:nvSpPr>
          <p:spPr bwMode="auto">
            <a:xfrm>
              <a:off x="1148037" y="1771904"/>
              <a:ext cx="97084" cy="42897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Rectangle 13"/>
            <p:cNvSpPr>
              <a:spLocks noChangeArrowheads="1"/>
            </p:cNvSpPr>
            <p:nvPr/>
          </p:nvSpPr>
          <p:spPr bwMode="auto">
            <a:xfrm>
              <a:off x="1282600" y="1771904"/>
              <a:ext cx="97084" cy="42897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
            <p:cNvSpPr>
              <a:spLocks noEditPoints="1"/>
            </p:cNvSpPr>
            <p:nvPr/>
          </p:nvSpPr>
          <p:spPr bwMode="auto">
            <a:xfrm>
              <a:off x="1417163" y="1771904"/>
              <a:ext cx="97084" cy="428973"/>
            </a:xfrm>
            <a:custGeom>
              <a:avLst/>
              <a:gdLst>
                <a:gd name="T0" fmla="*/ 0 w 215"/>
                <a:gd name="T1" fmla="*/ 0 h 950"/>
                <a:gd name="T2" fmla="*/ 215 w 215"/>
                <a:gd name="T3" fmla="*/ 0 h 950"/>
                <a:gd name="T4" fmla="*/ 215 w 215"/>
                <a:gd name="T5" fmla="*/ 193 h 950"/>
                <a:gd name="T6" fmla="*/ 0 w 215"/>
                <a:gd name="T7" fmla="*/ 193 h 950"/>
                <a:gd name="T8" fmla="*/ 0 w 215"/>
                <a:gd name="T9" fmla="*/ 0 h 950"/>
                <a:gd name="T10" fmla="*/ 0 w 215"/>
                <a:gd name="T11" fmla="*/ 281 h 950"/>
                <a:gd name="T12" fmla="*/ 215 w 215"/>
                <a:gd name="T13" fmla="*/ 281 h 950"/>
                <a:gd name="T14" fmla="*/ 215 w 215"/>
                <a:gd name="T15" fmla="*/ 950 h 950"/>
                <a:gd name="T16" fmla="*/ 0 w 215"/>
                <a:gd name="T17" fmla="*/ 950 h 950"/>
                <a:gd name="T18" fmla="*/ 0 w 215"/>
                <a:gd name="T19" fmla="*/ 28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950">
                  <a:moveTo>
                    <a:pt x="0" y="0"/>
                  </a:moveTo>
                  <a:lnTo>
                    <a:pt x="215" y="0"/>
                  </a:lnTo>
                  <a:lnTo>
                    <a:pt x="215" y="193"/>
                  </a:lnTo>
                  <a:lnTo>
                    <a:pt x="0" y="193"/>
                  </a:lnTo>
                  <a:lnTo>
                    <a:pt x="0" y="0"/>
                  </a:lnTo>
                  <a:close/>
                  <a:moveTo>
                    <a:pt x="0" y="281"/>
                  </a:moveTo>
                  <a:lnTo>
                    <a:pt x="215" y="281"/>
                  </a:lnTo>
                  <a:lnTo>
                    <a:pt x="215" y="950"/>
                  </a:lnTo>
                  <a:lnTo>
                    <a:pt x="0" y="950"/>
                  </a:lnTo>
                  <a:lnTo>
                    <a:pt x="0" y="28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5"/>
            <p:cNvSpPr>
              <a:spLocks noEditPoints="1"/>
            </p:cNvSpPr>
            <p:nvPr/>
          </p:nvSpPr>
          <p:spPr bwMode="auto">
            <a:xfrm>
              <a:off x="1537727" y="1891565"/>
              <a:ext cx="258739" cy="315634"/>
            </a:xfrm>
            <a:custGeom>
              <a:avLst/>
              <a:gdLst>
                <a:gd name="T0" fmla="*/ 90 w 242"/>
                <a:gd name="T1" fmla="*/ 167 h 294"/>
                <a:gd name="T2" fmla="*/ 131 w 242"/>
                <a:gd name="T3" fmla="*/ 234 h 294"/>
                <a:gd name="T4" fmla="*/ 177 w 242"/>
                <a:gd name="T5" fmla="*/ 195 h 294"/>
                <a:gd name="T6" fmla="*/ 238 w 242"/>
                <a:gd name="T7" fmla="*/ 218 h 294"/>
                <a:gd name="T8" fmla="*/ 126 w 242"/>
                <a:gd name="T9" fmla="*/ 294 h 294"/>
                <a:gd name="T10" fmla="*/ 0 w 242"/>
                <a:gd name="T11" fmla="*/ 147 h 294"/>
                <a:gd name="T12" fmla="*/ 124 w 242"/>
                <a:gd name="T13" fmla="*/ 0 h 294"/>
                <a:gd name="T14" fmla="*/ 242 w 242"/>
                <a:gd name="T15" fmla="*/ 148 h 294"/>
                <a:gd name="T16" fmla="*/ 242 w 242"/>
                <a:gd name="T17" fmla="*/ 167 h 294"/>
                <a:gd name="T18" fmla="*/ 90 w 242"/>
                <a:gd name="T19" fmla="*/ 167 h 294"/>
                <a:gd name="T20" fmla="*/ 158 w 242"/>
                <a:gd name="T21" fmla="*/ 114 h 294"/>
                <a:gd name="T22" fmla="*/ 124 w 242"/>
                <a:gd name="T23" fmla="*/ 57 h 294"/>
                <a:gd name="T24" fmla="*/ 90 w 242"/>
                <a:gd name="T25" fmla="*/ 114 h 294"/>
                <a:gd name="T26" fmla="*/ 158 w 242"/>
                <a:gd name="T27" fmla="*/ 11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2" h="294">
                  <a:moveTo>
                    <a:pt x="90" y="167"/>
                  </a:moveTo>
                  <a:cubicBezTo>
                    <a:pt x="90" y="192"/>
                    <a:pt x="95" y="234"/>
                    <a:pt x="131" y="234"/>
                  </a:cubicBezTo>
                  <a:cubicBezTo>
                    <a:pt x="153" y="234"/>
                    <a:pt x="172" y="218"/>
                    <a:pt x="177" y="195"/>
                  </a:cubicBezTo>
                  <a:cubicBezTo>
                    <a:pt x="238" y="218"/>
                    <a:pt x="238" y="218"/>
                    <a:pt x="238" y="218"/>
                  </a:cubicBezTo>
                  <a:cubicBezTo>
                    <a:pt x="234" y="231"/>
                    <a:pt x="206" y="294"/>
                    <a:pt x="126" y="294"/>
                  </a:cubicBezTo>
                  <a:cubicBezTo>
                    <a:pt x="39" y="294"/>
                    <a:pt x="0" y="224"/>
                    <a:pt x="0" y="147"/>
                  </a:cubicBezTo>
                  <a:cubicBezTo>
                    <a:pt x="0" y="67"/>
                    <a:pt x="41" y="0"/>
                    <a:pt x="124" y="0"/>
                  </a:cubicBezTo>
                  <a:cubicBezTo>
                    <a:pt x="212" y="0"/>
                    <a:pt x="242" y="75"/>
                    <a:pt x="242" y="148"/>
                  </a:cubicBezTo>
                  <a:cubicBezTo>
                    <a:pt x="242" y="167"/>
                    <a:pt x="242" y="167"/>
                    <a:pt x="242" y="167"/>
                  </a:cubicBezTo>
                  <a:lnTo>
                    <a:pt x="90" y="167"/>
                  </a:lnTo>
                  <a:close/>
                  <a:moveTo>
                    <a:pt x="158" y="114"/>
                  </a:moveTo>
                  <a:cubicBezTo>
                    <a:pt x="158" y="87"/>
                    <a:pt x="155" y="57"/>
                    <a:pt x="124" y="57"/>
                  </a:cubicBezTo>
                  <a:cubicBezTo>
                    <a:pt x="98" y="57"/>
                    <a:pt x="90" y="87"/>
                    <a:pt x="90" y="114"/>
                  </a:cubicBezTo>
                  <a:lnTo>
                    <a:pt x="158" y="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
            <p:cNvSpPr>
              <a:spLocks/>
            </p:cNvSpPr>
            <p:nvPr/>
          </p:nvSpPr>
          <p:spPr bwMode="auto">
            <a:xfrm>
              <a:off x="1824010" y="1771904"/>
              <a:ext cx="398720" cy="428973"/>
            </a:xfrm>
            <a:custGeom>
              <a:avLst/>
              <a:gdLst>
                <a:gd name="T0" fmla="*/ 0 w 883"/>
                <a:gd name="T1" fmla="*/ 0 h 950"/>
                <a:gd name="T2" fmla="*/ 334 w 883"/>
                <a:gd name="T3" fmla="*/ 0 h 950"/>
                <a:gd name="T4" fmla="*/ 435 w 883"/>
                <a:gd name="T5" fmla="*/ 531 h 950"/>
                <a:gd name="T6" fmla="*/ 438 w 883"/>
                <a:gd name="T7" fmla="*/ 531 h 950"/>
                <a:gd name="T8" fmla="*/ 558 w 883"/>
                <a:gd name="T9" fmla="*/ 0 h 950"/>
                <a:gd name="T10" fmla="*/ 883 w 883"/>
                <a:gd name="T11" fmla="*/ 0 h 950"/>
                <a:gd name="T12" fmla="*/ 883 w 883"/>
                <a:gd name="T13" fmla="*/ 950 h 950"/>
                <a:gd name="T14" fmla="*/ 646 w 883"/>
                <a:gd name="T15" fmla="*/ 950 h 950"/>
                <a:gd name="T16" fmla="*/ 646 w 883"/>
                <a:gd name="T17" fmla="*/ 248 h 950"/>
                <a:gd name="T18" fmla="*/ 641 w 883"/>
                <a:gd name="T19" fmla="*/ 248 h 950"/>
                <a:gd name="T20" fmla="*/ 480 w 883"/>
                <a:gd name="T21" fmla="*/ 950 h 950"/>
                <a:gd name="T22" fmla="*/ 336 w 883"/>
                <a:gd name="T23" fmla="*/ 950 h 950"/>
                <a:gd name="T24" fmla="*/ 185 w 883"/>
                <a:gd name="T25" fmla="*/ 224 h 950"/>
                <a:gd name="T26" fmla="*/ 182 w 883"/>
                <a:gd name="T27" fmla="*/ 224 h 950"/>
                <a:gd name="T28" fmla="*/ 182 w 883"/>
                <a:gd name="T29" fmla="*/ 950 h 950"/>
                <a:gd name="T30" fmla="*/ 0 w 883"/>
                <a:gd name="T31" fmla="*/ 950 h 950"/>
                <a:gd name="T32" fmla="*/ 0 w 883"/>
                <a:gd name="T33" fmla="*/ 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3" h="950">
                  <a:moveTo>
                    <a:pt x="0" y="0"/>
                  </a:moveTo>
                  <a:lnTo>
                    <a:pt x="334" y="0"/>
                  </a:lnTo>
                  <a:lnTo>
                    <a:pt x="435" y="531"/>
                  </a:lnTo>
                  <a:lnTo>
                    <a:pt x="438" y="531"/>
                  </a:lnTo>
                  <a:lnTo>
                    <a:pt x="558" y="0"/>
                  </a:lnTo>
                  <a:lnTo>
                    <a:pt x="883" y="0"/>
                  </a:lnTo>
                  <a:lnTo>
                    <a:pt x="883" y="950"/>
                  </a:lnTo>
                  <a:lnTo>
                    <a:pt x="646" y="950"/>
                  </a:lnTo>
                  <a:lnTo>
                    <a:pt x="646" y="248"/>
                  </a:lnTo>
                  <a:lnTo>
                    <a:pt x="641" y="248"/>
                  </a:lnTo>
                  <a:lnTo>
                    <a:pt x="480" y="950"/>
                  </a:lnTo>
                  <a:lnTo>
                    <a:pt x="336" y="950"/>
                  </a:lnTo>
                  <a:lnTo>
                    <a:pt x="185" y="224"/>
                  </a:lnTo>
                  <a:lnTo>
                    <a:pt x="182" y="224"/>
                  </a:lnTo>
                  <a:lnTo>
                    <a:pt x="182" y="950"/>
                  </a:lnTo>
                  <a:lnTo>
                    <a:pt x="0" y="95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noEditPoints="1"/>
            </p:cNvSpPr>
            <p:nvPr/>
          </p:nvSpPr>
          <p:spPr bwMode="auto">
            <a:xfrm>
              <a:off x="2241695" y="1891565"/>
              <a:ext cx="261900" cy="315634"/>
            </a:xfrm>
            <a:custGeom>
              <a:avLst/>
              <a:gdLst>
                <a:gd name="T0" fmla="*/ 146 w 245"/>
                <a:gd name="T1" fmla="*/ 90 h 294"/>
                <a:gd name="T2" fmla="*/ 122 w 245"/>
                <a:gd name="T3" fmla="*/ 57 h 294"/>
                <a:gd name="T4" fmla="*/ 93 w 245"/>
                <a:gd name="T5" fmla="*/ 94 h 294"/>
                <a:gd name="T6" fmla="*/ 14 w 245"/>
                <a:gd name="T7" fmla="*/ 78 h 294"/>
                <a:gd name="T8" fmla="*/ 126 w 245"/>
                <a:gd name="T9" fmla="*/ 0 h 294"/>
                <a:gd name="T10" fmla="*/ 237 w 245"/>
                <a:gd name="T11" fmla="*/ 86 h 294"/>
                <a:gd name="T12" fmla="*/ 237 w 245"/>
                <a:gd name="T13" fmla="*/ 242 h 294"/>
                <a:gd name="T14" fmla="*/ 245 w 245"/>
                <a:gd name="T15" fmla="*/ 288 h 294"/>
                <a:gd name="T16" fmla="*/ 151 w 245"/>
                <a:gd name="T17" fmla="*/ 288 h 294"/>
                <a:gd name="T18" fmla="*/ 149 w 245"/>
                <a:gd name="T19" fmla="*/ 262 h 294"/>
                <a:gd name="T20" fmla="*/ 80 w 245"/>
                <a:gd name="T21" fmla="*/ 294 h 294"/>
                <a:gd name="T22" fmla="*/ 0 w 245"/>
                <a:gd name="T23" fmla="*/ 208 h 294"/>
                <a:gd name="T24" fmla="*/ 146 w 245"/>
                <a:gd name="T25" fmla="*/ 109 h 294"/>
                <a:gd name="T26" fmla="*/ 146 w 245"/>
                <a:gd name="T27" fmla="*/ 90 h 294"/>
                <a:gd name="T28" fmla="*/ 146 w 245"/>
                <a:gd name="T29" fmla="*/ 153 h 294"/>
                <a:gd name="T30" fmla="*/ 90 w 245"/>
                <a:gd name="T31" fmla="*/ 204 h 294"/>
                <a:gd name="T32" fmla="*/ 117 w 245"/>
                <a:gd name="T33" fmla="*/ 234 h 294"/>
                <a:gd name="T34" fmla="*/ 146 w 245"/>
                <a:gd name="T35" fmla="*/ 216 h 294"/>
                <a:gd name="T36" fmla="*/ 146 w 245"/>
                <a:gd name="T37" fmla="*/ 15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294">
                  <a:moveTo>
                    <a:pt x="146" y="90"/>
                  </a:moveTo>
                  <a:cubicBezTo>
                    <a:pt x="146" y="73"/>
                    <a:pt x="139" y="57"/>
                    <a:pt x="122" y="57"/>
                  </a:cubicBezTo>
                  <a:cubicBezTo>
                    <a:pt x="102" y="57"/>
                    <a:pt x="94" y="78"/>
                    <a:pt x="93" y="94"/>
                  </a:cubicBezTo>
                  <a:cubicBezTo>
                    <a:pt x="14" y="78"/>
                    <a:pt x="14" y="78"/>
                    <a:pt x="14" y="78"/>
                  </a:cubicBezTo>
                  <a:cubicBezTo>
                    <a:pt x="24" y="22"/>
                    <a:pt x="74" y="0"/>
                    <a:pt x="126" y="0"/>
                  </a:cubicBezTo>
                  <a:cubicBezTo>
                    <a:pt x="180" y="0"/>
                    <a:pt x="237" y="23"/>
                    <a:pt x="237" y="86"/>
                  </a:cubicBezTo>
                  <a:cubicBezTo>
                    <a:pt x="237" y="242"/>
                    <a:pt x="237" y="242"/>
                    <a:pt x="237" y="242"/>
                  </a:cubicBezTo>
                  <a:cubicBezTo>
                    <a:pt x="237" y="274"/>
                    <a:pt x="242" y="284"/>
                    <a:pt x="245" y="288"/>
                  </a:cubicBezTo>
                  <a:cubicBezTo>
                    <a:pt x="151" y="288"/>
                    <a:pt x="151" y="288"/>
                    <a:pt x="151" y="288"/>
                  </a:cubicBezTo>
                  <a:cubicBezTo>
                    <a:pt x="150" y="280"/>
                    <a:pt x="150" y="270"/>
                    <a:pt x="149" y="262"/>
                  </a:cubicBezTo>
                  <a:cubicBezTo>
                    <a:pt x="132" y="281"/>
                    <a:pt x="108" y="294"/>
                    <a:pt x="80" y="294"/>
                  </a:cubicBezTo>
                  <a:cubicBezTo>
                    <a:pt x="32" y="294"/>
                    <a:pt x="0" y="263"/>
                    <a:pt x="0" y="208"/>
                  </a:cubicBezTo>
                  <a:cubicBezTo>
                    <a:pt x="0" y="133"/>
                    <a:pt x="85" y="111"/>
                    <a:pt x="146" y="109"/>
                  </a:cubicBezTo>
                  <a:lnTo>
                    <a:pt x="146" y="90"/>
                  </a:lnTo>
                  <a:close/>
                  <a:moveTo>
                    <a:pt x="146" y="153"/>
                  </a:moveTo>
                  <a:cubicBezTo>
                    <a:pt x="111" y="156"/>
                    <a:pt x="90" y="162"/>
                    <a:pt x="90" y="204"/>
                  </a:cubicBezTo>
                  <a:cubicBezTo>
                    <a:pt x="90" y="223"/>
                    <a:pt x="101" y="234"/>
                    <a:pt x="117" y="234"/>
                  </a:cubicBezTo>
                  <a:cubicBezTo>
                    <a:pt x="125" y="234"/>
                    <a:pt x="135" y="229"/>
                    <a:pt x="146" y="216"/>
                  </a:cubicBezTo>
                  <a:lnTo>
                    <a:pt x="146" y="15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noEditPoints="1"/>
            </p:cNvSpPr>
            <p:nvPr/>
          </p:nvSpPr>
          <p:spPr bwMode="auto">
            <a:xfrm>
              <a:off x="2487340" y="1891565"/>
              <a:ext cx="258739" cy="315634"/>
            </a:xfrm>
            <a:custGeom>
              <a:avLst/>
              <a:gdLst>
                <a:gd name="T0" fmla="*/ 91 w 242"/>
                <a:gd name="T1" fmla="*/ 167 h 294"/>
                <a:gd name="T2" fmla="*/ 131 w 242"/>
                <a:gd name="T3" fmla="*/ 234 h 294"/>
                <a:gd name="T4" fmla="*/ 177 w 242"/>
                <a:gd name="T5" fmla="*/ 195 h 294"/>
                <a:gd name="T6" fmla="*/ 238 w 242"/>
                <a:gd name="T7" fmla="*/ 218 h 294"/>
                <a:gd name="T8" fmla="*/ 126 w 242"/>
                <a:gd name="T9" fmla="*/ 294 h 294"/>
                <a:gd name="T10" fmla="*/ 0 w 242"/>
                <a:gd name="T11" fmla="*/ 147 h 294"/>
                <a:gd name="T12" fmla="*/ 125 w 242"/>
                <a:gd name="T13" fmla="*/ 0 h 294"/>
                <a:gd name="T14" fmla="*/ 242 w 242"/>
                <a:gd name="T15" fmla="*/ 148 h 294"/>
                <a:gd name="T16" fmla="*/ 242 w 242"/>
                <a:gd name="T17" fmla="*/ 167 h 294"/>
                <a:gd name="T18" fmla="*/ 91 w 242"/>
                <a:gd name="T19" fmla="*/ 167 h 294"/>
                <a:gd name="T20" fmla="*/ 158 w 242"/>
                <a:gd name="T21" fmla="*/ 114 h 294"/>
                <a:gd name="T22" fmla="*/ 124 w 242"/>
                <a:gd name="T23" fmla="*/ 57 h 294"/>
                <a:gd name="T24" fmla="*/ 91 w 242"/>
                <a:gd name="T25" fmla="*/ 114 h 294"/>
                <a:gd name="T26" fmla="*/ 158 w 242"/>
                <a:gd name="T27" fmla="*/ 11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2" h="294">
                  <a:moveTo>
                    <a:pt x="91" y="167"/>
                  </a:moveTo>
                  <a:cubicBezTo>
                    <a:pt x="91" y="192"/>
                    <a:pt x="96" y="234"/>
                    <a:pt x="131" y="234"/>
                  </a:cubicBezTo>
                  <a:cubicBezTo>
                    <a:pt x="153" y="234"/>
                    <a:pt x="172" y="218"/>
                    <a:pt x="177" y="195"/>
                  </a:cubicBezTo>
                  <a:cubicBezTo>
                    <a:pt x="238" y="218"/>
                    <a:pt x="238" y="218"/>
                    <a:pt x="238" y="218"/>
                  </a:cubicBezTo>
                  <a:cubicBezTo>
                    <a:pt x="235" y="231"/>
                    <a:pt x="207" y="294"/>
                    <a:pt x="126" y="294"/>
                  </a:cubicBezTo>
                  <a:cubicBezTo>
                    <a:pt x="39" y="294"/>
                    <a:pt x="0" y="224"/>
                    <a:pt x="0" y="147"/>
                  </a:cubicBezTo>
                  <a:cubicBezTo>
                    <a:pt x="0" y="67"/>
                    <a:pt x="41" y="0"/>
                    <a:pt x="125" y="0"/>
                  </a:cubicBezTo>
                  <a:cubicBezTo>
                    <a:pt x="212" y="0"/>
                    <a:pt x="242" y="75"/>
                    <a:pt x="242" y="148"/>
                  </a:cubicBezTo>
                  <a:cubicBezTo>
                    <a:pt x="242" y="167"/>
                    <a:pt x="242" y="167"/>
                    <a:pt x="242" y="167"/>
                  </a:cubicBezTo>
                  <a:lnTo>
                    <a:pt x="91" y="167"/>
                  </a:lnTo>
                  <a:close/>
                  <a:moveTo>
                    <a:pt x="158" y="114"/>
                  </a:moveTo>
                  <a:cubicBezTo>
                    <a:pt x="158" y="87"/>
                    <a:pt x="156" y="57"/>
                    <a:pt x="124" y="57"/>
                  </a:cubicBezTo>
                  <a:cubicBezTo>
                    <a:pt x="98" y="57"/>
                    <a:pt x="91" y="87"/>
                    <a:pt x="91" y="114"/>
                  </a:cubicBezTo>
                  <a:lnTo>
                    <a:pt x="158" y="11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noEditPoints="1"/>
            </p:cNvSpPr>
            <p:nvPr/>
          </p:nvSpPr>
          <p:spPr bwMode="auto">
            <a:xfrm>
              <a:off x="2723502" y="1893371"/>
              <a:ext cx="57798" cy="56895"/>
            </a:xfrm>
            <a:custGeom>
              <a:avLst/>
              <a:gdLst>
                <a:gd name="T0" fmla="*/ 27 w 54"/>
                <a:gd name="T1" fmla="*/ 0 h 53"/>
                <a:gd name="T2" fmla="*/ 54 w 54"/>
                <a:gd name="T3" fmla="*/ 26 h 53"/>
                <a:gd name="T4" fmla="*/ 27 w 54"/>
                <a:gd name="T5" fmla="*/ 53 h 53"/>
                <a:gd name="T6" fmla="*/ 0 w 54"/>
                <a:gd name="T7" fmla="*/ 26 h 53"/>
                <a:gd name="T8" fmla="*/ 27 w 54"/>
                <a:gd name="T9" fmla="*/ 0 h 53"/>
                <a:gd name="T10" fmla="*/ 27 w 54"/>
                <a:gd name="T11" fmla="*/ 46 h 53"/>
                <a:gd name="T12" fmla="*/ 46 w 54"/>
                <a:gd name="T13" fmla="*/ 26 h 53"/>
                <a:gd name="T14" fmla="*/ 27 w 54"/>
                <a:gd name="T15" fmla="*/ 6 h 53"/>
                <a:gd name="T16" fmla="*/ 8 w 54"/>
                <a:gd name="T17" fmla="*/ 26 h 53"/>
                <a:gd name="T18" fmla="*/ 27 w 54"/>
                <a:gd name="T19" fmla="*/ 46 h 53"/>
                <a:gd name="T20" fmla="*/ 23 w 54"/>
                <a:gd name="T21" fmla="*/ 39 h 53"/>
                <a:gd name="T22" fmla="*/ 18 w 54"/>
                <a:gd name="T23" fmla="*/ 39 h 53"/>
                <a:gd name="T24" fmla="*/ 18 w 54"/>
                <a:gd name="T25" fmla="*/ 13 h 53"/>
                <a:gd name="T26" fmla="*/ 28 w 54"/>
                <a:gd name="T27" fmla="*/ 13 h 53"/>
                <a:gd name="T28" fmla="*/ 38 w 54"/>
                <a:gd name="T29" fmla="*/ 21 h 53"/>
                <a:gd name="T30" fmla="*/ 32 w 54"/>
                <a:gd name="T31" fmla="*/ 28 h 53"/>
                <a:gd name="T32" fmla="*/ 38 w 54"/>
                <a:gd name="T33" fmla="*/ 39 h 53"/>
                <a:gd name="T34" fmla="*/ 32 w 54"/>
                <a:gd name="T35" fmla="*/ 39 h 53"/>
                <a:gd name="T36" fmla="*/ 26 w 54"/>
                <a:gd name="T37" fmla="*/ 29 h 53"/>
                <a:gd name="T38" fmla="*/ 23 w 54"/>
                <a:gd name="T39" fmla="*/ 29 h 53"/>
                <a:gd name="T40" fmla="*/ 23 w 54"/>
                <a:gd name="T41" fmla="*/ 39 h 53"/>
                <a:gd name="T42" fmla="*/ 23 w 54"/>
                <a:gd name="T43" fmla="*/ 24 h 53"/>
                <a:gd name="T44" fmla="*/ 28 w 54"/>
                <a:gd name="T45" fmla="*/ 24 h 53"/>
                <a:gd name="T46" fmla="*/ 31 w 54"/>
                <a:gd name="T47" fmla="*/ 21 h 53"/>
                <a:gd name="T48" fmla="*/ 28 w 54"/>
                <a:gd name="T49" fmla="*/ 18 h 53"/>
                <a:gd name="T50" fmla="*/ 23 w 54"/>
                <a:gd name="T51" fmla="*/ 18 h 53"/>
                <a:gd name="T52" fmla="*/ 23 w 54"/>
                <a:gd name="T53"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3">
                  <a:moveTo>
                    <a:pt x="27" y="0"/>
                  </a:moveTo>
                  <a:cubicBezTo>
                    <a:pt x="42" y="0"/>
                    <a:pt x="54" y="12"/>
                    <a:pt x="54" y="26"/>
                  </a:cubicBezTo>
                  <a:cubicBezTo>
                    <a:pt x="54" y="41"/>
                    <a:pt x="42" y="53"/>
                    <a:pt x="27" y="53"/>
                  </a:cubicBezTo>
                  <a:cubicBezTo>
                    <a:pt x="12" y="53"/>
                    <a:pt x="0" y="41"/>
                    <a:pt x="0" y="26"/>
                  </a:cubicBezTo>
                  <a:cubicBezTo>
                    <a:pt x="0" y="12"/>
                    <a:pt x="12" y="0"/>
                    <a:pt x="27" y="0"/>
                  </a:cubicBezTo>
                  <a:close/>
                  <a:moveTo>
                    <a:pt x="27" y="46"/>
                  </a:moveTo>
                  <a:cubicBezTo>
                    <a:pt x="38" y="46"/>
                    <a:pt x="46" y="38"/>
                    <a:pt x="46" y="26"/>
                  </a:cubicBezTo>
                  <a:cubicBezTo>
                    <a:pt x="46" y="15"/>
                    <a:pt x="38" y="6"/>
                    <a:pt x="27" y="6"/>
                  </a:cubicBezTo>
                  <a:cubicBezTo>
                    <a:pt x="16" y="6"/>
                    <a:pt x="8" y="15"/>
                    <a:pt x="8" y="26"/>
                  </a:cubicBezTo>
                  <a:cubicBezTo>
                    <a:pt x="8" y="38"/>
                    <a:pt x="16" y="46"/>
                    <a:pt x="27" y="46"/>
                  </a:cubicBezTo>
                  <a:close/>
                  <a:moveTo>
                    <a:pt x="23" y="39"/>
                  </a:moveTo>
                  <a:cubicBezTo>
                    <a:pt x="18" y="39"/>
                    <a:pt x="18" y="39"/>
                    <a:pt x="18" y="39"/>
                  </a:cubicBezTo>
                  <a:cubicBezTo>
                    <a:pt x="18" y="13"/>
                    <a:pt x="18" y="13"/>
                    <a:pt x="18" y="13"/>
                  </a:cubicBezTo>
                  <a:cubicBezTo>
                    <a:pt x="28" y="13"/>
                    <a:pt x="28" y="13"/>
                    <a:pt x="28" y="13"/>
                  </a:cubicBezTo>
                  <a:cubicBezTo>
                    <a:pt x="34" y="13"/>
                    <a:pt x="38" y="15"/>
                    <a:pt x="38" y="21"/>
                  </a:cubicBezTo>
                  <a:cubicBezTo>
                    <a:pt x="38" y="26"/>
                    <a:pt x="35" y="28"/>
                    <a:pt x="32" y="28"/>
                  </a:cubicBezTo>
                  <a:cubicBezTo>
                    <a:pt x="38" y="39"/>
                    <a:pt x="38" y="39"/>
                    <a:pt x="38" y="39"/>
                  </a:cubicBezTo>
                  <a:cubicBezTo>
                    <a:pt x="32" y="39"/>
                    <a:pt x="32" y="39"/>
                    <a:pt x="32" y="39"/>
                  </a:cubicBezTo>
                  <a:cubicBezTo>
                    <a:pt x="26" y="29"/>
                    <a:pt x="26" y="29"/>
                    <a:pt x="26" y="29"/>
                  </a:cubicBezTo>
                  <a:cubicBezTo>
                    <a:pt x="23" y="29"/>
                    <a:pt x="23" y="29"/>
                    <a:pt x="23" y="29"/>
                  </a:cubicBezTo>
                  <a:lnTo>
                    <a:pt x="23" y="39"/>
                  </a:lnTo>
                  <a:close/>
                  <a:moveTo>
                    <a:pt x="23" y="24"/>
                  </a:moveTo>
                  <a:cubicBezTo>
                    <a:pt x="28" y="24"/>
                    <a:pt x="28" y="24"/>
                    <a:pt x="28" y="24"/>
                  </a:cubicBezTo>
                  <a:cubicBezTo>
                    <a:pt x="30" y="24"/>
                    <a:pt x="31" y="23"/>
                    <a:pt x="31" y="21"/>
                  </a:cubicBezTo>
                  <a:cubicBezTo>
                    <a:pt x="31" y="19"/>
                    <a:pt x="30" y="18"/>
                    <a:pt x="28" y="18"/>
                  </a:cubicBezTo>
                  <a:cubicBezTo>
                    <a:pt x="23" y="18"/>
                    <a:pt x="23" y="18"/>
                    <a:pt x="23" y="18"/>
                  </a:cubicBezTo>
                  <a:lnTo>
                    <a:pt x="23" y="2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Footer Placeholder 2">
            <a:extLst>
              <a:ext uri="{FF2B5EF4-FFF2-40B4-BE49-F238E27FC236}">
                <a16:creationId xmlns:a16="http://schemas.microsoft.com/office/drawing/2014/main" id="{52F78DF7-B6E9-42B1-823F-8A302410819E}"/>
              </a:ext>
            </a:extLst>
          </p:cNvPr>
          <p:cNvSpPr txBox="1">
            <a:spLocks/>
          </p:cNvSpPr>
          <p:nvPr/>
        </p:nvSpPr>
        <p:spPr>
          <a:xfrm>
            <a:off x="447725" y="8752309"/>
            <a:ext cx="1931619"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chemeClr val="bg2"/>
                </a:solidFill>
              </a:rPr>
              <a:t>© 2017 Ellie Mae. All rights reserved. </a:t>
            </a:r>
          </a:p>
        </p:txBody>
      </p:sp>
    </p:spTree>
    <p:extLst>
      <p:ext uri="{BB962C8B-B14F-4D97-AF65-F5344CB8AC3E}">
        <p14:creationId xmlns:p14="http://schemas.microsoft.com/office/powerpoint/2010/main" val="174513938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17475" indent="0" algn="l" defTabSz="914400" rtl="0" eaLnBrk="1" latinLnBrk="0" hangingPunct="1">
      <a:spcAft>
        <a:spcPts val="600"/>
      </a:spcAft>
      <a:defRPr sz="1200" kern="1200">
        <a:solidFill>
          <a:schemeClr val="tx1"/>
        </a:solidFill>
        <a:latin typeface="+mn-lt"/>
        <a:ea typeface="+mn-ea"/>
        <a:cs typeface="+mn-cs"/>
      </a:defRPr>
    </a:lvl2pPr>
    <a:lvl3pPr marL="234950" indent="0" algn="l" defTabSz="914400" rtl="0" eaLnBrk="1" latinLnBrk="0" hangingPunct="1">
      <a:spcAft>
        <a:spcPts val="600"/>
      </a:spcAft>
      <a:defRPr sz="1200" kern="1200">
        <a:solidFill>
          <a:schemeClr val="tx1"/>
        </a:solidFill>
        <a:latin typeface="+mn-lt"/>
        <a:ea typeface="+mn-ea"/>
        <a:cs typeface="+mn-cs"/>
      </a:defRPr>
    </a:lvl3pPr>
    <a:lvl4pPr marL="404813" indent="0" algn="l" defTabSz="914400" rtl="0" eaLnBrk="1" latinLnBrk="0" hangingPunct="1">
      <a:spcAft>
        <a:spcPts val="600"/>
      </a:spcAft>
      <a:defRPr sz="1200" kern="1200">
        <a:solidFill>
          <a:schemeClr val="tx1"/>
        </a:solidFill>
        <a:latin typeface="+mn-lt"/>
        <a:ea typeface="+mn-ea"/>
        <a:cs typeface="+mn-cs"/>
      </a:defRPr>
    </a:lvl4pPr>
    <a:lvl5pPr marL="509588" indent="0" algn="l" defTabSz="914400" rtl="0" eaLnBrk="1" latinLnBrk="0" hangingPunct="1">
      <a:spcAft>
        <a:spcPts val="60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7675" y="708025"/>
            <a:ext cx="5962650" cy="3354388"/>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EA4495E-A564-4441-8B09-831F7FCF7119}" type="slidenum">
              <a:rPr lang="en-US" smtClean="0"/>
              <a:pPr/>
              <a:t>1</a:t>
            </a:fld>
            <a:endParaRPr lang="en-US" dirty="0"/>
          </a:p>
        </p:txBody>
      </p:sp>
    </p:spTree>
    <p:extLst>
      <p:ext uri="{BB962C8B-B14F-4D97-AF65-F5344CB8AC3E}">
        <p14:creationId xmlns:p14="http://schemas.microsoft.com/office/powerpoint/2010/main" val="2653156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raditional Ho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9758FBB0-1CB8-4647-8216-3B2DDEF43196}"/>
              </a:ext>
            </a:extLst>
          </p:cNvPr>
          <p:cNvCxnSpPr>
            <a:cxnSpLocks/>
          </p:cNvCxnSpPr>
          <p:nvPr userDrawn="1"/>
        </p:nvCxnSpPr>
        <p:spPr>
          <a:xfrm>
            <a:off x="673281" y="3920604"/>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943812F-A858-4FAC-A382-C5B9D5F4CA09}"/>
              </a:ext>
            </a:extLst>
          </p:cNvPr>
          <p:cNvSpPr>
            <a:spLocks noGrp="1"/>
          </p:cNvSpPr>
          <p:nvPr>
            <p:ph type="ctrTitle"/>
          </p:nvPr>
        </p:nvSpPr>
        <p:spPr>
          <a:xfrm>
            <a:off x="679631" y="1929661"/>
            <a:ext cx="7251031" cy="1749760"/>
          </a:xfrm>
        </p:spPr>
        <p:txBody>
          <a:bodyPr anchor="b">
            <a:normAutofit/>
          </a:bodyPr>
          <a:lstStyle>
            <a:lvl1pPr algn="l">
              <a:lnSpc>
                <a:spcPts val="4400"/>
              </a:lnSpc>
              <a:defRPr sz="4000" b="0" spc="60" baseline="0">
                <a:solidFill>
                  <a:schemeClr val="tx1"/>
                </a:solidFill>
              </a:defRPr>
            </a:lvl1pPr>
          </a:lstStyle>
          <a:p>
            <a:r>
              <a:rPr lang="en-US" dirty="0"/>
              <a:t>Click to edit Master title style</a:t>
            </a:r>
          </a:p>
        </p:txBody>
      </p:sp>
      <p:sp>
        <p:nvSpPr>
          <p:cNvPr id="22" name="Text Placeholder 21"/>
          <p:cNvSpPr>
            <a:spLocks noGrp="1"/>
          </p:cNvSpPr>
          <p:nvPr>
            <p:ph type="body" sz="quarter" idx="13"/>
          </p:nvPr>
        </p:nvSpPr>
        <p:spPr>
          <a:xfrm>
            <a:off x="670969" y="4808982"/>
            <a:ext cx="5301815" cy="1600610"/>
          </a:xfrm>
        </p:spPr>
        <p:txBody>
          <a:bodyPr>
            <a:normAutofit/>
          </a:bodyPr>
          <a:lstStyle>
            <a:lvl1pPr marL="19050" indent="0">
              <a:spcBef>
                <a:spcPts val="0"/>
              </a:spcBef>
              <a:buFont typeface=".AppleSystemUIFont" charset="-120"/>
              <a:buChar char="​"/>
              <a:tabLst/>
              <a:defRPr sz="2400" b="0">
                <a:solidFill>
                  <a:srgbClr val="003555"/>
                </a:solidFill>
              </a:defRPr>
            </a:lvl1pPr>
            <a:lvl2pPr marL="19050" indent="0">
              <a:spcBef>
                <a:spcPts val="0"/>
              </a:spcBef>
              <a:buFont typeface=".AppleSystemUIFont" charset="-120"/>
              <a:buChar char="​"/>
              <a:tabLst/>
              <a:defRPr sz="2400" b="0">
                <a:solidFill>
                  <a:schemeClr val="accent1">
                    <a:lumMod val="40000"/>
                    <a:lumOff val="60000"/>
                  </a:schemeClr>
                </a:solidFill>
              </a:defRPr>
            </a:lvl2pPr>
            <a:lvl3pPr marL="19050" indent="0">
              <a:spcBef>
                <a:spcPts val="0"/>
              </a:spcBef>
              <a:buFont typeface=".AppleSystemUIFont" charset="-120"/>
              <a:buChar char="​"/>
              <a:tabLst/>
              <a:defRPr sz="2400" b="0">
                <a:solidFill>
                  <a:schemeClr val="accent1">
                    <a:lumMod val="40000"/>
                    <a:lumOff val="60000"/>
                  </a:schemeClr>
                </a:solidFill>
              </a:defRPr>
            </a:lvl3pPr>
            <a:lvl4pPr>
              <a:spcBef>
                <a:spcPts val="0"/>
              </a:spcBef>
              <a:defRPr sz="2400" b="0">
                <a:solidFill>
                  <a:schemeClr val="accent1">
                    <a:lumMod val="40000"/>
                    <a:lumOff val="60000"/>
                  </a:schemeClr>
                </a:solidFill>
              </a:defRPr>
            </a:lvl4pPr>
            <a:lvl5pPr>
              <a:spcBef>
                <a:spcPts val="0"/>
              </a:spcBef>
              <a:defRPr sz="2400" b="0">
                <a:solidFill>
                  <a:schemeClr val="accent1">
                    <a:lumMod val="40000"/>
                    <a:lumOff val="60000"/>
                  </a:schemeClr>
                </a:solidFill>
              </a:defRPr>
            </a:lvl5pPr>
            <a:lvl6pPr>
              <a:spcBef>
                <a:spcPts val="0"/>
              </a:spcBef>
              <a:spcAft>
                <a:spcPts val="600"/>
              </a:spcAft>
              <a:defRPr sz="1800">
                <a:solidFill>
                  <a:schemeClr val="accent1">
                    <a:lumMod val="40000"/>
                    <a:lumOff val="60000"/>
                  </a:schemeClr>
                </a:solidFill>
              </a:defRPr>
            </a:lvl6pPr>
            <a:lvl7pPr>
              <a:spcBef>
                <a:spcPts val="0"/>
              </a:spcBef>
              <a:spcAft>
                <a:spcPts val="600"/>
              </a:spcAft>
              <a:defRPr sz="1800">
                <a:solidFill>
                  <a:schemeClr val="accent1">
                    <a:lumMod val="40000"/>
                    <a:lumOff val="60000"/>
                  </a:schemeClr>
                </a:solidFill>
              </a:defRPr>
            </a:lvl7pPr>
            <a:lvl8pPr>
              <a:spcBef>
                <a:spcPts val="0"/>
              </a:spcBef>
              <a:spcAft>
                <a:spcPts val="600"/>
              </a:spcAft>
              <a:defRPr sz="1800">
                <a:solidFill>
                  <a:schemeClr val="accent1">
                    <a:lumMod val="40000"/>
                    <a:lumOff val="60000"/>
                  </a:schemeClr>
                </a:solidFill>
              </a:defRPr>
            </a:lvl8pPr>
            <a:lvl9pPr>
              <a:spcBef>
                <a:spcPts val="0"/>
              </a:spcBef>
              <a:spcAft>
                <a:spcPts val="600"/>
              </a:spcAft>
              <a:defRPr sz="1800">
                <a:solidFill>
                  <a:schemeClr val="accent1">
                    <a:lumMod val="40000"/>
                    <a:lumOff val="60000"/>
                  </a:schemeClr>
                </a:solidFill>
              </a:defRPr>
            </a:lvl9pPr>
          </a:lstStyle>
          <a:p>
            <a:pPr lvl="0"/>
            <a:r>
              <a:rPr lang="en-US" dirty="0"/>
              <a:t>Click to edit Master text styles</a:t>
            </a:r>
          </a:p>
        </p:txBody>
      </p:sp>
      <p:sp>
        <p:nvSpPr>
          <p:cNvPr id="68" name="Footer Placeholder 2">
            <a:extLst>
              <a:ext uri="{FF2B5EF4-FFF2-40B4-BE49-F238E27FC236}">
                <a16:creationId xmlns:a16="http://schemas.microsoft.com/office/drawing/2014/main" id="{E59423CB-C0A4-4E37-B18A-5BDA98A28854}"/>
              </a:ext>
            </a:extLst>
          </p:cNvPr>
          <p:cNvSpPr txBox="1">
            <a:spLocks/>
          </p:cNvSpPr>
          <p:nvPr userDrawn="1"/>
        </p:nvSpPr>
        <p:spPr>
          <a:xfrm>
            <a:off x="670969" y="6559095"/>
            <a:ext cx="289342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i="0" dirty="0">
                <a:solidFill>
                  <a:srgbClr val="FFFFFF"/>
                </a:solidFill>
                <a:latin typeface="Arial" panose="020B0604020202020204" pitchFamily="34" charset="0"/>
                <a:cs typeface="Arial" panose="020B0604020202020204" pitchFamily="34" charset="0"/>
              </a:rPr>
              <a:t>© ICE Mortgage Technology. All rights reserved. </a:t>
            </a:r>
            <a:fld id="{B3B1E8A1-168D-4243-9708-A76A30C359D9}" type="datetime1">
              <a:rPr lang="en-US" sz="900" b="0" i="0" smtClean="0">
                <a:solidFill>
                  <a:srgbClr val="FFFFFF"/>
                </a:solidFill>
                <a:latin typeface="Arial" panose="020B0604020202020204" pitchFamily="34" charset="0"/>
                <a:cs typeface="Arial" panose="020B0604020202020204" pitchFamily="34" charset="0"/>
              </a:rPr>
              <a:pPr algn="l"/>
              <a:t>8/17/2022</a:t>
            </a:fld>
            <a:endParaRPr lang="en-US" sz="900" b="0" i="0" dirty="0">
              <a:solidFill>
                <a:srgbClr val="FFFFFF"/>
              </a:solidFill>
              <a:latin typeface="Arial" panose="020B0604020202020204" pitchFamily="34" charset="0"/>
              <a:cs typeface="Arial" panose="020B0604020202020204" pitchFamily="34" charset="0"/>
            </a:endParaRPr>
          </a:p>
        </p:txBody>
      </p:sp>
      <p:pic>
        <p:nvPicPr>
          <p:cNvPr id="66" name="Picture 65" descr="A picture containing drawing&#10;&#10;Description automatically generated">
            <a:extLst>
              <a:ext uri="{FF2B5EF4-FFF2-40B4-BE49-F238E27FC236}">
                <a16:creationId xmlns:a16="http://schemas.microsoft.com/office/drawing/2014/main" id="{0CF96B14-DE2E-CC42-9FC8-CF4F01E693F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70970" y="691072"/>
            <a:ext cx="2743200" cy="871369"/>
          </a:xfrm>
          <a:prstGeom prst="rect">
            <a:avLst/>
          </a:prstGeom>
        </p:spPr>
      </p:pic>
      <p:sp>
        <p:nvSpPr>
          <p:cNvPr id="8" name="Subtitle 2">
            <a:extLst>
              <a:ext uri="{FF2B5EF4-FFF2-40B4-BE49-F238E27FC236}">
                <a16:creationId xmlns:a16="http://schemas.microsoft.com/office/drawing/2014/main" id="{BA0DF289-A8A6-7A48-8E99-B672791C4874}"/>
              </a:ext>
            </a:extLst>
          </p:cNvPr>
          <p:cNvSpPr>
            <a:spLocks noGrp="1"/>
          </p:cNvSpPr>
          <p:nvPr>
            <p:ph type="subTitle" idx="1"/>
          </p:nvPr>
        </p:nvSpPr>
        <p:spPr>
          <a:xfrm>
            <a:off x="670969" y="4161786"/>
            <a:ext cx="5286574" cy="453462"/>
          </a:xfrm>
        </p:spPr>
        <p:txBody>
          <a:bodyPr>
            <a:normAutofit/>
          </a:bodyPr>
          <a:lstStyle>
            <a:lvl1pPr marL="0" indent="0" algn="l">
              <a:buNone/>
              <a:defRPr sz="2800">
                <a:solidFill>
                  <a:srgbClr val="00355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23904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xEl>
                                              <p:pRg st="0" end="0"/>
                                            </p:txEl>
                                          </p:spTgt>
                                        </p:tgtEl>
                                        <p:attrNameLst>
                                          <p:attrName>style.visibility</p:attrName>
                                        </p:attrNameLst>
                                      </p:cBhvr>
                                      <p:to>
                                        <p:strVal val="visible"/>
                                      </p:to>
                                    </p:set>
                                    <p:animEffect transition="in" filter="fade">
                                      <p:cBhvr>
                                        <p:cTn id="13" dur="500"/>
                                        <p:tgtEl>
                                          <p:spTgt spid="22">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build="p">
        <p:tmplLst>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8" grpId="0" build="p">
        <p:tmplLst>
          <p:tmpl lvl="1">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14" name="Rectangle 13"/>
          <p:cNvSpPr/>
          <p:nvPr userDrawn="1"/>
        </p:nvSpPr>
        <p:spPr>
          <a:xfrm>
            <a:off x="-15692" y="0"/>
            <a:ext cx="391183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2"/>
          <p:cNvSpPr txBox="1">
            <a:spLocks/>
          </p:cNvSpPr>
          <p:nvPr userDrawn="1"/>
        </p:nvSpPr>
        <p:spPr>
          <a:xfrm>
            <a:off x="670970" y="452438"/>
            <a:ext cx="2285590" cy="384588"/>
          </a:xfrm>
          <a:prstGeom prst="rect">
            <a:avLst/>
          </a:prstGeom>
          <a:noFill/>
        </p:spPr>
        <p:txBody>
          <a:bodyPr lIns="0" tIns="0" rIns="0" bIns="0" anchor="t"/>
          <a:lstStyle>
            <a:lvl1pPr algn="l" defTabSz="914400" rtl="0" eaLnBrk="1" latinLnBrk="0" hangingPunct="1">
              <a:lnSpc>
                <a:spcPct val="90000"/>
              </a:lnSpc>
              <a:spcBef>
                <a:spcPct val="0"/>
              </a:spcBef>
              <a:buNone/>
              <a:defRPr sz="3200" kern="1200" spc="150" baseline="0">
                <a:solidFill>
                  <a:schemeClr val="tx2">
                    <a:lumMod val="75000"/>
                  </a:schemeClr>
                </a:solidFill>
                <a:latin typeface="+mj-lt"/>
                <a:ea typeface="+mj-ea"/>
                <a:cs typeface="+mj-cs"/>
              </a:defRPr>
            </a:lvl1pPr>
          </a:lstStyle>
          <a:p>
            <a:pPr>
              <a:spcAft>
                <a:spcPts val="600"/>
              </a:spcAft>
            </a:pPr>
            <a:r>
              <a:rPr lang="en-US" sz="1800" dirty="0">
                <a:solidFill>
                  <a:srgbClr val="003555"/>
                </a:solidFill>
              </a:rPr>
              <a:t>Case Study</a:t>
            </a:r>
          </a:p>
        </p:txBody>
      </p:sp>
      <p:cxnSp>
        <p:nvCxnSpPr>
          <p:cNvPr id="19" name="Straight Connector 18">
            <a:extLst>
              <a:ext uri="{FF2B5EF4-FFF2-40B4-BE49-F238E27FC236}">
                <a16:creationId xmlns:a16="http://schemas.microsoft.com/office/drawing/2014/main" id="{9758FBB0-1CB8-4647-8216-3B2DDEF43196}"/>
              </a:ext>
            </a:extLst>
          </p:cNvPr>
          <p:cNvCxnSpPr>
            <a:cxnSpLocks/>
          </p:cNvCxnSpPr>
          <p:nvPr userDrawn="1"/>
        </p:nvCxnSpPr>
        <p:spPr>
          <a:xfrm>
            <a:off x="689522" y="2299290"/>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4504602" y="1676752"/>
            <a:ext cx="1528303" cy="369332"/>
          </a:xfrm>
          <a:prstGeom prst="rect">
            <a:avLst/>
          </a:prstGeom>
        </p:spPr>
        <p:txBody>
          <a:bodyPr wrap="none" lIns="0" tIns="0" rIns="0" bIns="0" anchor="b">
            <a:spAutoFit/>
          </a:bodyPr>
          <a:lstStyle/>
          <a:p>
            <a:r>
              <a:rPr lang="en-US" sz="2400" b="0" spc="120" dirty="0">
                <a:solidFill>
                  <a:schemeClr val="tx2"/>
                </a:solidFill>
              </a:rPr>
              <a:t>Challenge</a:t>
            </a:r>
          </a:p>
        </p:txBody>
      </p:sp>
      <p:sp>
        <p:nvSpPr>
          <p:cNvPr id="21" name="Rectangle 20"/>
          <p:cNvSpPr/>
          <p:nvPr userDrawn="1"/>
        </p:nvSpPr>
        <p:spPr>
          <a:xfrm>
            <a:off x="8320631" y="1676752"/>
            <a:ext cx="1237198" cy="369332"/>
          </a:xfrm>
          <a:prstGeom prst="rect">
            <a:avLst/>
          </a:prstGeom>
        </p:spPr>
        <p:txBody>
          <a:bodyPr wrap="none" lIns="0" tIns="0" rIns="0" bIns="0" anchor="b">
            <a:spAutoFit/>
          </a:bodyPr>
          <a:lstStyle/>
          <a:p>
            <a:r>
              <a:rPr lang="en-US" sz="2400" b="0" spc="120" dirty="0">
                <a:solidFill>
                  <a:schemeClr val="tx2"/>
                </a:solidFill>
              </a:rPr>
              <a:t>Solution</a:t>
            </a:r>
          </a:p>
        </p:txBody>
      </p:sp>
      <p:sp>
        <p:nvSpPr>
          <p:cNvPr id="22" name="Rectangle 21"/>
          <p:cNvSpPr/>
          <p:nvPr userDrawn="1"/>
        </p:nvSpPr>
        <p:spPr>
          <a:xfrm>
            <a:off x="4504602" y="3745452"/>
            <a:ext cx="1356462" cy="369332"/>
          </a:xfrm>
          <a:prstGeom prst="rect">
            <a:avLst/>
          </a:prstGeom>
        </p:spPr>
        <p:txBody>
          <a:bodyPr wrap="none" lIns="0" tIns="0" rIns="0" bIns="0">
            <a:spAutoFit/>
          </a:bodyPr>
          <a:lstStyle/>
          <a:p>
            <a:r>
              <a:rPr lang="en-US" sz="2400" b="0" spc="120" dirty="0">
                <a:solidFill>
                  <a:schemeClr val="tx2"/>
                </a:solidFill>
              </a:rPr>
              <a:t>Outcome</a:t>
            </a:r>
          </a:p>
        </p:txBody>
      </p:sp>
      <p:pic>
        <p:nvPicPr>
          <p:cNvPr id="26" name="Picture 25">
            <a:extLst>
              <a:ext uri="{FF2B5EF4-FFF2-40B4-BE49-F238E27FC236}">
                <a16:creationId xmlns:a16="http://schemas.microsoft.com/office/drawing/2014/main" id="{4E4300EB-1F29-4DBF-9FE6-CE568DDB7E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6200000">
            <a:off x="593940" y="3325076"/>
            <a:ext cx="6858000" cy="207847"/>
          </a:xfrm>
          <a:prstGeom prst="rect">
            <a:avLst/>
          </a:prstGeom>
        </p:spPr>
      </p:pic>
      <p:cxnSp>
        <p:nvCxnSpPr>
          <p:cNvPr id="27" name="Straight Connector 26">
            <a:extLst>
              <a:ext uri="{FF2B5EF4-FFF2-40B4-BE49-F238E27FC236}">
                <a16:creationId xmlns:a16="http://schemas.microsoft.com/office/drawing/2014/main" id="{9758FBB0-1CB8-4647-8216-3B2DDEF43196}"/>
              </a:ext>
            </a:extLst>
          </p:cNvPr>
          <p:cNvCxnSpPr>
            <a:cxnSpLocks/>
          </p:cNvCxnSpPr>
          <p:nvPr userDrawn="1"/>
        </p:nvCxnSpPr>
        <p:spPr>
          <a:xfrm>
            <a:off x="4504602" y="3466639"/>
            <a:ext cx="7016429" cy="0"/>
          </a:xfrm>
          <a:prstGeom prst="line">
            <a:avLst/>
          </a:prstGeom>
          <a:ln w="635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0" name="Title 9"/>
          <p:cNvSpPr>
            <a:spLocks noGrp="1"/>
          </p:cNvSpPr>
          <p:nvPr userDrawn="1">
            <p:ph type="title"/>
          </p:nvPr>
        </p:nvSpPr>
        <p:spPr>
          <a:xfrm>
            <a:off x="670969" y="806546"/>
            <a:ext cx="2987083" cy="1239538"/>
          </a:xfrm>
        </p:spPr>
        <p:txBody>
          <a:bodyPr anchor="b"/>
          <a:lstStyle>
            <a:lvl1pPr>
              <a:lnSpc>
                <a:spcPts val="3200"/>
              </a:lnSpc>
              <a:defRPr sz="2800">
                <a:solidFill>
                  <a:schemeClr val="bg1"/>
                </a:solidFill>
              </a:defRPr>
            </a:lvl1pPr>
          </a:lstStyle>
          <a:p>
            <a:r>
              <a:rPr lang="en-US" dirty="0"/>
              <a:t>Click to edit Master title style</a:t>
            </a:r>
          </a:p>
        </p:txBody>
      </p:sp>
      <p:sp>
        <p:nvSpPr>
          <p:cNvPr id="2" name="Footer Placeholder 1"/>
          <p:cNvSpPr>
            <a:spLocks noGrp="1"/>
          </p:cNvSpPr>
          <p:nvPr userDrawn="1">
            <p:ph type="ftr" sz="quarter" idx="15"/>
          </p:nvPr>
        </p:nvSpPr>
        <p:spPr>
          <a:xfrm>
            <a:off x="4504602" y="6550738"/>
            <a:ext cx="3657600" cy="150207"/>
          </a:xfrm>
        </p:spPr>
        <p:txBody>
          <a:bodyPr/>
          <a:lstStyle/>
          <a:p>
            <a:endParaRPr lang="en-US" dirty="0"/>
          </a:p>
        </p:txBody>
      </p:sp>
      <p:sp>
        <p:nvSpPr>
          <p:cNvPr id="3" name="Slide Number Placeholder 2"/>
          <p:cNvSpPr>
            <a:spLocks noGrp="1"/>
          </p:cNvSpPr>
          <p:nvPr userDrawn="1">
            <p:ph type="sldNum" sz="quarter" idx="16"/>
          </p:nvPr>
        </p:nvSpPr>
        <p:spPr/>
        <p:txBody>
          <a:bodyPr/>
          <a:lstStyle/>
          <a:p>
            <a:fld id="{8A6D9EF2-1078-4CF1-AE32-B8E5CFC7CD9F}" type="slidenum">
              <a:rPr lang="en-US" smtClean="0"/>
              <a:pPr/>
              <a:t>‹#›</a:t>
            </a:fld>
            <a:endParaRPr lang="en-US" dirty="0"/>
          </a:p>
        </p:txBody>
      </p:sp>
      <p:sp>
        <p:nvSpPr>
          <p:cNvPr id="6" name="Text Placeholder 5"/>
          <p:cNvSpPr>
            <a:spLocks noGrp="1"/>
          </p:cNvSpPr>
          <p:nvPr>
            <p:ph type="body" sz="quarter" idx="17"/>
          </p:nvPr>
        </p:nvSpPr>
        <p:spPr>
          <a:xfrm>
            <a:off x="443936" y="2488234"/>
            <a:ext cx="3167944" cy="3815395"/>
          </a:xfrm>
        </p:spPr>
        <p:txBody>
          <a:bodyPr>
            <a:normAutofit/>
          </a:bodyPr>
          <a:lstStyle>
            <a:lvl1pPr marL="241300" indent="-120650">
              <a:lnSpc>
                <a:spcPts val="2200"/>
              </a:lnSpc>
              <a:spcAft>
                <a:spcPts val="900"/>
              </a:spcAft>
              <a:buClr>
                <a:schemeClr val="bg1"/>
              </a:buClr>
              <a:buFont typeface=".LucidaGrandeUI" charset="0"/>
              <a:buChar char="“"/>
              <a:tabLst/>
              <a:defRPr sz="1800">
                <a:solidFill>
                  <a:schemeClr val="bg1"/>
                </a:solidFill>
              </a:defRPr>
            </a:lvl1pPr>
            <a:lvl2pPr marL="241300" indent="-120650">
              <a:lnSpc>
                <a:spcPts val="2200"/>
              </a:lnSpc>
              <a:spcAft>
                <a:spcPts val="900"/>
              </a:spcAft>
              <a:buClr>
                <a:schemeClr val="bg1"/>
              </a:buClr>
              <a:buFont typeface=".LucidaGrandeUI" charset="0"/>
              <a:buChar char="“"/>
              <a:tabLst/>
              <a:defRPr sz="1800">
                <a:solidFill>
                  <a:schemeClr val="bg1"/>
                </a:solidFill>
              </a:defRPr>
            </a:lvl2pPr>
            <a:lvl3pPr marL="241300" indent="-120650">
              <a:lnSpc>
                <a:spcPts val="2000"/>
              </a:lnSpc>
              <a:spcAft>
                <a:spcPts val="900"/>
              </a:spcAft>
              <a:buClr>
                <a:schemeClr val="bg1"/>
              </a:buClr>
              <a:buFont typeface=".LucidaGrandeUI" charset="0"/>
              <a:buChar char="“"/>
              <a:tabLst/>
              <a:defRPr sz="1600">
                <a:solidFill>
                  <a:schemeClr val="bg1"/>
                </a:solidFill>
              </a:defRPr>
            </a:lvl3pPr>
            <a:lvl4pPr marL="241300" indent="0">
              <a:tabLst/>
              <a:defRPr sz="1600" b="0">
                <a:solidFill>
                  <a:schemeClr val="accent1">
                    <a:lumMod val="40000"/>
                    <a:lumOff val="60000"/>
                  </a:schemeClr>
                </a:solidFill>
              </a:defRPr>
            </a:lvl4pPr>
            <a:lvl5pPr marL="241300" indent="0">
              <a:tabLst/>
              <a:defRPr sz="1400" b="0">
                <a:solidFill>
                  <a:schemeClr val="accent1">
                    <a:lumMod val="40000"/>
                    <a:lumOff val="60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29" name="Text Placeholder 28"/>
          <p:cNvSpPr>
            <a:spLocks noGrp="1"/>
          </p:cNvSpPr>
          <p:nvPr>
            <p:ph type="body" sz="quarter" idx="18"/>
          </p:nvPr>
        </p:nvSpPr>
        <p:spPr>
          <a:xfrm>
            <a:off x="4504602" y="2172256"/>
            <a:ext cx="3200400" cy="1065213"/>
          </a:xfrm>
        </p:spPr>
        <p:txBody>
          <a:bodyPr>
            <a:noAutofit/>
          </a:bodyPr>
          <a:lstStyle>
            <a:lvl1pPr>
              <a:lnSpc>
                <a:spcPts val="2000"/>
              </a:lnSpc>
              <a:spcBef>
                <a:spcPts val="0"/>
              </a:spcBef>
              <a:spcAft>
                <a:spcPts val="900"/>
              </a:spcAft>
              <a:defRPr sz="1600"/>
            </a:lvl1pPr>
            <a:lvl2pPr>
              <a:lnSpc>
                <a:spcPts val="1800"/>
              </a:lnSpc>
              <a:spcAft>
                <a:spcPts val="900"/>
              </a:spcAft>
              <a:defRPr sz="1400"/>
            </a:lvl2pPr>
            <a:lvl3pPr marL="685800" indent="-228600">
              <a:lnSpc>
                <a:spcPts val="1600"/>
              </a:lnSpc>
              <a:spcAft>
                <a:spcPts val="900"/>
              </a:spcAft>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p:txBody>
      </p:sp>
      <p:sp>
        <p:nvSpPr>
          <p:cNvPr id="36" name="Picture Placeholder 35"/>
          <p:cNvSpPr>
            <a:spLocks noGrp="1"/>
          </p:cNvSpPr>
          <p:nvPr>
            <p:ph type="pic" sz="quarter" idx="21" hasCustomPrompt="1"/>
          </p:nvPr>
        </p:nvSpPr>
        <p:spPr>
          <a:xfrm>
            <a:off x="9671642" y="452438"/>
            <a:ext cx="1849389" cy="858837"/>
          </a:xfrm>
        </p:spPr>
        <p:txBody>
          <a:bodyPr>
            <a:normAutofit/>
          </a:bodyPr>
          <a:lstStyle>
            <a:lvl1pPr>
              <a:defRPr sz="1800"/>
            </a:lvl1pPr>
          </a:lstStyle>
          <a:p>
            <a:r>
              <a:rPr lang="en-US" dirty="0"/>
              <a:t>Insert Logo here</a:t>
            </a:r>
          </a:p>
        </p:txBody>
      </p:sp>
      <p:pic>
        <p:nvPicPr>
          <p:cNvPr id="40" name="Picture 39">
            <a:extLst>
              <a:ext uri="{FF2B5EF4-FFF2-40B4-BE49-F238E27FC236}">
                <a16:creationId xmlns:a16="http://schemas.microsoft.com/office/drawing/2014/main" id="{DA134677-D1B9-5846-A1B6-9A8F1A3966E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69" y="6396222"/>
            <a:ext cx="918088" cy="291627"/>
          </a:xfrm>
          <a:prstGeom prst="rect">
            <a:avLst/>
          </a:prstGeom>
        </p:spPr>
      </p:pic>
      <p:sp>
        <p:nvSpPr>
          <p:cNvPr id="41" name="Text Placeholder 28">
            <a:extLst>
              <a:ext uri="{FF2B5EF4-FFF2-40B4-BE49-F238E27FC236}">
                <a16:creationId xmlns:a16="http://schemas.microsoft.com/office/drawing/2014/main" id="{5DD64300-77EB-4D4E-B7F8-D72C51E2EBFC}"/>
              </a:ext>
            </a:extLst>
          </p:cNvPr>
          <p:cNvSpPr>
            <a:spLocks noGrp="1"/>
          </p:cNvSpPr>
          <p:nvPr>
            <p:ph type="body" sz="quarter" idx="22"/>
          </p:nvPr>
        </p:nvSpPr>
        <p:spPr>
          <a:xfrm>
            <a:off x="8320631" y="2172256"/>
            <a:ext cx="3200400" cy="1065213"/>
          </a:xfrm>
        </p:spPr>
        <p:txBody>
          <a:bodyPr>
            <a:noAutofit/>
          </a:bodyPr>
          <a:lstStyle>
            <a:lvl1pPr>
              <a:lnSpc>
                <a:spcPts val="2000"/>
              </a:lnSpc>
              <a:spcBef>
                <a:spcPts val="0"/>
              </a:spcBef>
              <a:spcAft>
                <a:spcPts val="900"/>
              </a:spcAft>
              <a:defRPr sz="1600"/>
            </a:lvl1pPr>
            <a:lvl2pPr>
              <a:lnSpc>
                <a:spcPts val="1800"/>
              </a:lnSpc>
              <a:spcAft>
                <a:spcPts val="900"/>
              </a:spcAft>
              <a:defRPr sz="1400"/>
            </a:lvl2pPr>
            <a:lvl3pPr marL="685800" indent="-228600">
              <a:lnSpc>
                <a:spcPts val="1600"/>
              </a:lnSpc>
              <a:spcAft>
                <a:spcPts val="900"/>
              </a:spcAft>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p:txBody>
      </p:sp>
      <p:sp>
        <p:nvSpPr>
          <p:cNvPr id="42" name="Text Placeholder 28">
            <a:extLst>
              <a:ext uri="{FF2B5EF4-FFF2-40B4-BE49-F238E27FC236}">
                <a16:creationId xmlns:a16="http://schemas.microsoft.com/office/drawing/2014/main" id="{2FEA992D-C3CB-0642-8985-2B84C32274C3}"/>
              </a:ext>
            </a:extLst>
          </p:cNvPr>
          <p:cNvSpPr>
            <a:spLocks noGrp="1"/>
          </p:cNvSpPr>
          <p:nvPr>
            <p:ph type="body" sz="quarter" idx="23"/>
          </p:nvPr>
        </p:nvSpPr>
        <p:spPr>
          <a:xfrm>
            <a:off x="4504602" y="4238145"/>
            <a:ext cx="7016428" cy="2065479"/>
          </a:xfrm>
        </p:spPr>
        <p:txBody>
          <a:bodyPr>
            <a:noAutofit/>
          </a:bodyPr>
          <a:lstStyle>
            <a:lvl1pPr>
              <a:lnSpc>
                <a:spcPts val="2000"/>
              </a:lnSpc>
              <a:spcBef>
                <a:spcPts val="0"/>
              </a:spcBef>
              <a:spcAft>
                <a:spcPts val="900"/>
              </a:spcAft>
              <a:defRPr sz="1600"/>
            </a:lvl1pPr>
            <a:lvl2pPr>
              <a:lnSpc>
                <a:spcPts val="1800"/>
              </a:lnSpc>
              <a:spcAft>
                <a:spcPts val="900"/>
              </a:spcAft>
              <a:defRPr sz="1400"/>
            </a:lvl2pPr>
            <a:lvl3pPr marL="685800" indent="-228600">
              <a:lnSpc>
                <a:spcPts val="1600"/>
              </a:lnSpc>
              <a:spcAft>
                <a:spcPts val="900"/>
              </a:spcAft>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Section Header On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1B65A87-74B7-4DDC-9005-08BB70C5AC3D}"/>
              </a:ext>
            </a:extLst>
          </p:cNvPr>
          <p:cNvSpPr/>
          <p:nvPr userDrawn="1"/>
        </p:nvSpPr>
        <p:spPr>
          <a:xfrm>
            <a:off x="0" y="1129553"/>
            <a:ext cx="7383796" cy="4910891"/>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25588"/>
              </a:solidFill>
            </a:endParaRPr>
          </a:p>
        </p:txBody>
      </p:sp>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grpSp>
        <p:nvGrpSpPr>
          <p:cNvPr id="11" name="Group 10">
            <a:extLst>
              <a:ext uri="{FF2B5EF4-FFF2-40B4-BE49-F238E27FC236}">
                <a16:creationId xmlns:a16="http://schemas.microsoft.com/office/drawing/2014/main" id="{D94EC5DF-DFF4-4D21-BD59-0554E55E3B7B}"/>
              </a:ext>
            </a:extLst>
          </p:cNvPr>
          <p:cNvGrpSpPr/>
          <p:nvPr userDrawn="1"/>
        </p:nvGrpSpPr>
        <p:grpSpPr>
          <a:xfrm>
            <a:off x="684729" y="4586416"/>
            <a:ext cx="6048448" cy="309885"/>
            <a:chOff x="685800" y="1230120"/>
            <a:chExt cx="10820400" cy="180189"/>
          </a:xfrm>
        </p:grpSpPr>
        <p:pic>
          <p:nvPicPr>
            <p:cNvPr id="12" name="Picture 11">
              <a:extLst>
                <a:ext uri="{FF2B5EF4-FFF2-40B4-BE49-F238E27FC236}">
                  <a16:creationId xmlns:a16="http://schemas.microsoft.com/office/drawing/2014/main" id="{0370C7C3-5EF7-452B-83D8-E8680F9E0D1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3" name="Straight Connector 12">
              <a:extLst>
                <a:ext uri="{FF2B5EF4-FFF2-40B4-BE49-F238E27FC236}">
                  <a16:creationId xmlns:a16="http://schemas.microsoft.com/office/drawing/2014/main" id="{5E3BD062-6DCE-4B7E-AEC7-7C1D48B68244}"/>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511761"/>
            <a:ext cx="6056155" cy="2852737"/>
          </a:xfrm>
        </p:spPr>
        <p:txBody>
          <a:bodyPr anchor="b">
            <a:normAutofit/>
          </a:bodyPr>
          <a:lstStyle>
            <a:lvl1pPr>
              <a:lnSpc>
                <a:spcPts val="4400"/>
              </a:lnSpc>
              <a:defRPr sz="4000">
                <a:solidFill>
                  <a:schemeClr val="bg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874306"/>
            <a:ext cx="6056155" cy="791292"/>
          </a:xfrm>
        </p:spPr>
        <p:txBody>
          <a:bodyPr/>
          <a:lstStyle>
            <a:lvl1pPr marL="0" indent="0">
              <a:lnSpc>
                <a:spcPts val="2800"/>
              </a:lnSpc>
              <a:spcBef>
                <a:spcPts val="0"/>
              </a:spcBef>
              <a:spcAft>
                <a:spcPts val="900"/>
              </a:spcAft>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26" name="Straight Connector 25">
            <a:extLst>
              <a:ext uri="{FF2B5EF4-FFF2-40B4-BE49-F238E27FC236}">
                <a16:creationId xmlns:a16="http://schemas.microsoft.com/office/drawing/2014/main" id="{EE30286B-E8ED-4CFE-A2ED-AEA2A6B5C43C}"/>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Footer Placeholder 2">
            <a:extLst>
              <a:ext uri="{FF2B5EF4-FFF2-40B4-BE49-F238E27FC236}">
                <a16:creationId xmlns:a16="http://schemas.microsoft.com/office/drawing/2014/main" id="{76F16D97-7C01-C64E-9D7A-DC280DF77943}"/>
              </a:ext>
            </a:extLst>
          </p:cNvPr>
          <p:cNvSpPr txBox="1">
            <a:spLocks/>
          </p:cNvSpPr>
          <p:nvPr userDrawn="1"/>
        </p:nvSpPr>
        <p:spPr>
          <a:xfrm>
            <a:off x="8074859" y="6559095"/>
            <a:ext cx="298960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28" name="Picture 27">
            <a:extLst>
              <a:ext uri="{FF2B5EF4-FFF2-40B4-BE49-F238E27FC236}">
                <a16:creationId xmlns:a16="http://schemas.microsoft.com/office/drawing/2014/main" id="{3EA13668-AD4F-A540-87CE-8536A565880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2706703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grpId="1" nodeType="withEffect">
                                  <p:stCondLst>
                                    <p:cond delay="0"/>
                                  </p:stCondLst>
                                  <p:childTnLst>
                                    <p:animMotion origin="layout" path="M -4.375E-6 4.81481E-6 L -0.08932 4.81481E-6 " pathEditMode="relative" rAng="0" ptsTypes="AA">
                                      <p:cBhvr>
                                        <p:cTn id="9" dur="750" spd="-100000" fill="hold"/>
                                        <p:tgtEl>
                                          <p:spTgt spid="8"/>
                                        </p:tgtEl>
                                        <p:attrNameLst>
                                          <p:attrName>ppt_x</p:attrName>
                                          <p:attrName>ppt_y</p:attrName>
                                        </p:attrNameLst>
                                      </p:cBhvr>
                                      <p:rCtr x="-4466" y="0"/>
                                    </p:animMotion>
                                  </p:childTnLst>
                                </p:cTn>
                              </p:par>
                              <p:par>
                                <p:cTn id="10" presetID="10" presetClass="entr" presetSubtype="0" fill="hold" nodeType="withEffect">
                                  <p:stCondLst>
                                    <p:cond delay="5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750"/>
                                        <p:tgtEl>
                                          <p:spTgt spid="1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75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Section Header Tw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1B65A87-74B7-4DDC-9005-08BB70C5AC3D}"/>
              </a:ext>
            </a:extLst>
          </p:cNvPr>
          <p:cNvSpPr/>
          <p:nvPr userDrawn="1"/>
        </p:nvSpPr>
        <p:spPr>
          <a:xfrm>
            <a:off x="0" y="1129553"/>
            <a:ext cx="7383796" cy="4910891"/>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25588"/>
              </a:solidFill>
            </a:endParaRPr>
          </a:p>
        </p:txBody>
      </p:sp>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bg1"/>
                </a:solidFill>
              </a:defRPr>
            </a:lvl1pPr>
          </a:lstStyle>
          <a:p>
            <a:fld id="{8A6D9EF2-1078-4CF1-AE32-B8E5CFC7CD9F}" type="slidenum">
              <a:rPr lang="en-US" smtClean="0"/>
              <a:pPr/>
              <a:t>‹#›</a:t>
            </a:fld>
            <a:endParaRPr lang="en-US" dirty="0">
              <a:solidFill>
                <a:schemeClr val="bg1"/>
              </a:solidFill>
            </a:endParaRPr>
          </a:p>
        </p:txBody>
      </p:sp>
      <p:grpSp>
        <p:nvGrpSpPr>
          <p:cNvPr id="11" name="Group 10">
            <a:extLst>
              <a:ext uri="{FF2B5EF4-FFF2-40B4-BE49-F238E27FC236}">
                <a16:creationId xmlns:a16="http://schemas.microsoft.com/office/drawing/2014/main" id="{D94EC5DF-DFF4-4D21-BD59-0554E55E3B7B}"/>
              </a:ext>
            </a:extLst>
          </p:cNvPr>
          <p:cNvGrpSpPr/>
          <p:nvPr userDrawn="1"/>
        </p:nvGrpSpPr>
        <p:grpSpPr>
          <a:xfrm>
            <a:off x="684729" y="4586416"/>
            <a:ext cx="6048448" cy="309885"/>
            <a:chOff x="685800" y="1230120"/>
            <a:chExt cx="10820400" cy="180189"/>
          </a:xfrm>
        </p:grpSpPr>
        <p:pic>
          <p:nvPicPr>
            <p:cNvPr id="12" name="Picture 11">
              <a:extLst>
                <a:ext uri="{FF2B5EF4-FFF2-40B4-BE49-F238E27FC236}">
                  <a16:creationId xmlns:a16="http://schemas.microsoft.com/office/drawing/2014/main" id="{0370C7C3-5EF7-452B-83D8-E8680F9E0D1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3" name="Straight Connector 12">
              <a:extLst>
                <a:ext uri="{FF2B5EF4-FFF2-40B4-BE49-F238E27FC236}">
                  <a16:creationId xmlns:a16="http://schemas.microsoft.com/office/drawing/2014/main" id="{5E3BD062-6DCE-4B7E-AEC7-7C1D48B68244}"/>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511761"/>
            <a:ext cx="6056155" cy="2852737"/>
          </a:xfrm>
        </p:spPr>
        <p:txBody>
          <a:bodyPr anchor="b">
            <a:normAutofit/>
          </a:bodyPr>
          <a:lstStyle>
            <a:lvl1pPr>
              <a:lnSpc>
                <a:spcPts val="4400"/>
              </a:lnSpc>
              <a:defRPr sz="4000">
                <a:solidFill>
                  <a:schemeClr val="bg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874306"/>
            <a:ext cx="6056155" cy="791292"/>
          </a:xfrm>
        </p:spPr>
        <p:txBody>
          <a:bodyPr/>
          <a:lstStyle>
            <a:lvl1pPr marL="0" indent="0">
              <a:lnSpc>
                <a:spcPts val="2800"/>
              </a:lnSpc>
              <a:spcBef>
                <a:spcPts val="0"/>
              </a:spcBef>
              <a:spcAft>
                <a:spcPts val="900"/>
              </a:spcAft>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26" name="Straight Connector 25">
            <a:extLst>
              <a:ext uri="{FF2B5EF4-FFF2-40B4-BE49-F238E27FC236}">
                <a16:creationId xmlns:a16="http://schemas.microsoft.com/office/drawing/2014/main" id="{155DAC59-372C-4195-B4A4-0941EA497765}"/>
              </a:ext>
            </a:extLst>
          </p:cNvPr>
          <p:cNvCxnSpPr/>
          <p:nvPr userDrawn="1"/>
        </p:nvCxnSpPr>
        <p:spPr>
          <a:xfrm>
            <a:off x="11179926" y="6542036"/>
            <a:ext cx="0" cy="174157"/>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Footer Placeholder 2">
            <a:extLst>
              <a:ext uri="{FF2B5EF4-FFF2-40B4-BE49-F238E27FC236}">
                <a16:creationId xmlns:a16="http://schemas.microsoft.com/office/drawing/2014/main" id="{4CBE7E77-D186-C142-A018-EDA825CA7981}"/>
              </a:ext>
            </a:extLst>
          </p:cNvPr>
          <p:cNvSpPr txBox="1">
            <a:spLocks/>
          </p:cNvSpPr>
          <p:nvPr userDrawn="1"/>
        </p:nvSpPr>
        <p:spPr>
          <a:xfrm>
            <a:off x="8074859" y="6559095"/>
            <a:ext cx="298960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bg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bg1"/>
                </a:solidFill>
                <a:latin typeface="Arial" panose="020B0604020202020204" pitchFamily="34" charset="0"/>
                <a:cs typeface="Arial" panose="020B0604020202020204" pitchFamily="34" charset="0"/>
              </a:rPr>
              <a:pPr algn="r"/>
              <a:t>8/17/2022</a:t>
            </a:fld>
            <a:r>
              <a:rPr lang="en-US" sz="900" b="0" i="0" dirty="0">
                <a:solidFill>
                  <a:schemeClr val="bg1"/>
                </a:solidFill>
                <a:latin typeface="Arial" panose="020B0604020202020204" pitchFamily="34" charset="0"/>
                <a:cs typeface="Arial" panose="020B0604020202020204" pitchFamily="34" charset="0"/>
              </a:rPr>
              <a:t> </a:t>
            </a:r>
          </a:p>
        </p:txBody>
      </p:sp>
      <p:pic>
        <p:nvPicPr>
          <p:cNvPr id="28" name="Picture 27">
            <a:extLst>
              <a:ext uri="{FF2B5EF4-FFF2-40B4-BE49-F238E27FC236}">
                <a16:creationId xmlns:a16="http://schemas.microsoft.com/office/drawing/2014/main" id="{8806AACF-5ECA-9C44-9F97-BD7B592DAE3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2104559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grpId="1" nodeType="withEffect">
                                  <p:stCondLst>
                                    <p:cond delay="0"/>
                                  </p:stCondLst>
                                  <p:childTnLst>
                                    <p:animMotion origin="layout" path="M -4.375E-6 4.81481E-6 L -0.08932 4.81481E-6 " pathEditMode="relative" rAng="0" ptsTypes="AA">
                                      <p:cBhvr>
                                        <p:cTn id="9" dur="750" spd="-100000" fill="hold"/>
                                        <p:tgtEl>
                                          <p:spTgt spid="8"/>
                                        </p:tgtEl>
                                        <p:attrNameLst>
                                          <p:attrName>ppt_x</p:attrName>
                                          <p:attrName>ppt_y</p:attrName>
                                        </p:attrNameLst>
                                      </p:cBhvr>
                                      <p:rCtr x="-4466" y="0"/>
                                    </p:animMotion>
                                  </p:childTnLst>
                                </p:cTn>
                              </p:par>
                              <p:par>
                                <p:cTn id="10" presetID="10" presetClass="entr" presetSubtype="0" fill="hold" nodeType="withEffect">
                                  <p:stCondLst>
                                    <p:cond delay="5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750"/>
                                        <p:tgtEl>
                                          <p:spTgt spid="1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75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Section Header Thre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1B65A87-74B7-4DDC-9005-08BB70C5AC3D}"/>
              </a:ext>
            </a:extLst>
          </p:cNvPr>
          <p:cNvSpPr/>
          <p:nvPr userDrawn="1"/>
        </p:nvSpPr>
        <p:spPr>
          <a:xfrm>
            <a:off x="0" y="1129553"/>
            <a:ext cx="7383796" cy="4910891"/>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25588"/>
              </a:solidFill>
            </a:endParaRPr>
          </a:p>
        </p:txBody>
      </p:sp>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grpSp>
        <p:nvGrpSpPr>
          <p:cNvPr id="11" name="Group 10">
            <a:extLst>
              <a:ext uri="{FF2B5EF4-FFF2-40B4-BE49-F238E27FC236}">
                <a16:creationId xmlns:a16="http://schemas.microsoft.com/office/drawing/2014/main" id="{D94EC5DF-DFF4-4D21-BD59-0554E55E3B7B}"/>
              </a:ext>
            </a:extLst>
          </p:cNvPr>
          <p:cNvGrpSpPr/>
          <p:nvPr userDrawn="1"/>
        </p:nvGrpSpPr>
        <p:grpSpPr>
          <a:xfrm>
            <a:off x="684729" y="4586416"/>
            <a:ext cx="6048448" cy="309885"/>
            <a:chOff x="685800" y="1230120"/>
            <a:chExt cx="10820400" cy="180189"/>
          </a:xfrm>
        </p:grpSpPr>
        <p:pic>
          <p:nvPicPr>
            <p:cNvPr id="12" name="Picture 11">
              <a:extLst>
                <a:ext uri="{FF2B5EF4-FFF2-40B4-BE49-F238E27FC236}">
                  <a16:creationId xmlns:a16="http://schemas.microsoft.com/office/drawing/2014/main" id="{0370C7C3-5EF7-452B-83D8-E8680F9E0D1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3" name="Straight Connector 12">
              <a:extLst>
                <a:ext uri="{FF2B5EF4-FFF2-40B4-BE49-F238E27FC236}">
                  <a16:creationId xmlns:a16="http://schemas.microsoft.com/office/drawing/2014/main" id="{5E3BD062-6DCE-4B7E-AEC7-7C1D48B68244}"/>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511761"/>
            <a:ext cx="6056155" cy="2852737"/>
          </a:xfrm>
        </p:spPr>
        <p:txBody>
          <a:bodyPr anchor="b">
            <a:normAutofit/>
          </a:bodyPr>
          <a:lstStyle>
            <a:lvl1pPr>
              <a:lnSpc>
                <a:spcPts val="4400"/>
              </a:lnSpc>
              <a:defRPr sz="4000">
                <a:solidFill>
                  <a:schemeClr val="bg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874306"/>
            <a:ext cx="6056155" cy="791292"/>
          </a:xfrm>
        </p:spPr>
        <p:txBody>
          <a:bodyPr/>
          <a:lstStyle>
            <a:lvl1pPr marL="0" indent="0">
              <a:lnSpc>
                <a:spcPts val="2800"/>
              </a:lnSpc>
              <a:spcBef>
                <a:spcPts val="0"/>
              </a:spcBef>
              <a:spcAft>
                <a:spcPts val="900"/>
              </a:spcAft>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26" name="Straight Connector 25">
            <a:extLst>
              <a:ext uri="{FF2B5EF4-FFF2-40B4-BE49-F238E27FC236}">
                <a16:creationId xmlns:a16="http://schemas.microsoft.com/office/drawing/2014/main" id="{93F6E382-F55F-4BC6-9E4A-143493205C7E}"/>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Footer Placeholder 2">
            <a:extLst>
              <a:ext uri="{FF2B5EF4-FFF2-40B4-BE49-F238E27FC236}">
                <a16:creationId xmlns:a16="http://schemas.microsoft.com/office/drawing/2014/main" id="{D99ECE8F-E375-9649-A36E-BC62CB55B20C}"/>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28" name="Picture 27">
            <a:extLst>
              <a:ext uri="{FF2B5EF4-FFF2-40B4-BE49-F238E27FC236}">
                <a16:creationId xmlns:a16="http://schemas.microsoft.com/office/drawing/2014/main" id="{E3DA3114-7D17-8746-9074-2222A348D6F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6483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grpId="1" nodeType="withEffect">
                                  <p:stCondLst>
                                    <p:cond delay="0"/>
                                  </p:stCondLst>
                                  <p:childTnLst>
                                    <p:animMotion origin="layout" path="M -4.375E-6 4.81481E-6 L -0.08932 4.81481E-6 " pathEditMode="relative" rAng="0" ptsTypes="AA">
                                      <p:cBhvr>
                                        <p:cTn id="9" dur="750" spd="-100000" fill="hold"/>
                                        <p:tgtEl>
                                          <p:spTgt spid="8"/>
                                        </p:tgtEl>
                                        <p:attrNameLst>
                                          <p:attrName>ppt_x</p:attrName>
                                          <p:attrName>ppt_y</p:attrName>
                                        </p:attrNameLst>
                                      </p:cBhvr>
                                      <p:rCtr x="-4466" y="0"/>
                                    </p:animMotion>
                                  </p:childTnLst>
                                </p:cTn>
                              </p:par>
                              <p:par>
                                <p:cTn id="10" presetID="10" presetClass="entr" presetSubtype="0" fill="hold" nodeType="withEffect">
                                  <p:stCondLst>
                                    <p:cond delay="5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750"/>
                                        <p:tgtEl>
                                          <p:spTgt spid="1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75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Fou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1B65A87-74B7-4DDC-9005-08BB70C5AC3D}"/>
              </a:ext>
            </a:extLst>
          </p:cNvPr>
          <p:cNvSpPr/>
          <p:nvPr userDrawn="1"/>
        </p:nvSpPr>
        <p:spPr>
          <a:xfrm>
            <a:off x="0" y="1129553"/>
            <a:ext cx="7383796" cy="4910891"/>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25588"/>
              </a:solidFill>
            </a:endParaRPr>
          </a:p>
        </p:txBody>
      </p:sp>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grpSp>
        <p:nvGrpSpPr>
          <p:cNvPr id="11" name="Group 10">
            <a:extLst>
              <a:ext uri="{FF2B5EF4-FFF2-40B4-BE49-F238E27FC236}">
                <a16:creationId xmlns:a16="http://schemas.microsoft.com/office/drawing/2014/main" id="{D94EC5DF-DFF4-4D21-BD59-0554E55E3B7B}"/>
              </a:ext>
            </a:extLst>
          </p:cNvPr>
          <p:cNvGrpSpPr/>
          <p:nvPr userDrawn="1"/>
        </p:nvGrpSpPr>
        <p:grpSpPr>
          <a:xfrm>
            <a:off x="684729" y="4586416"/>
            <a:ext cx="6048448" cy="309885"/>
            <a:chOff x="685800" y="1230120"/>
            <a:chExt cx="10820400" cy="180189"/>
          </a:xfrm>
        </p:grpSpPr>
        <p:pic>
          <p:nvPicPr>
            <p:cNvPr id="12" name="Picture 11">
              <a:extLst>
                <a:ext uri="{FF2B5EF4-FFF2-40B4-BE49-F238E27FC236}">
                  <a16:creationId xmlns:a16="http://schemas.microsoft.com/office/drawing/2014/main" id="{0370C7C3-5EF7-452B-83D8-E8680F9E0D1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3" name="Straight Connector 12">
              <a:extLst>
                <a:ext uri="{FF2B5EF4-FFF2-40B4-BE49-F238E27FC236}">
                  <a16:creationId xmlns:a16="http://schemas.microsoft.com/office/drawing/2014/main" id="{5E3BD062-6DCE-4B7E-AEC7-7C1D48B68244}"/>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511761"/>
            <a:ext cx="6056155" cy="2852737"/>
          </a:xfrm>
        </p:spPr>
        <p:txBody>
          <a:bodyPr anchor="b">
            <a:normAutofit/>
          </a:bodyPr>
          <a:lstStyle>
            <a:lvl1pPr>
              <a:lnSpc>
                <a:spcPts val="4400"/>
              </a:lnSpc>
              <a:defRPr sz="4000">
                <a:solidFill>
                  <a:schemeClr val="bg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874306"/>
            <a:ext cx="6056155" cy="791292"/>
          </a:xfrm>
        </p:spPr>
        <p:txBody>
          <a:bodyPr/>
          <a:lstStyle>
            <a:lvl1pPr marL="0" indent="0">
              <a:lnSpc>
                <a:spcPts val="2800"/>
              </a:lnSpc>
              <a:spcBef>
                <a:spcPts val="0"/>
              </a:spcBef>
              <a:spcAft>
                <a:spcPts val="900"/>
              </a:spcAft>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26" name="Straight Connector 25">
            <a:extLst>
              <a:ext uri="{FF2B5EF4-FFF2-40B4-BE49-F238E27FC236}">
                <a16:creationId xmlns:a16="http://schemas.microsoft.com/office/drawing/2014/main" id="{782211FD-E564-4960-A95B-D074C1E3444E}"/>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Footer Placeholder 2">
            <a:extLst>
              <a:ext uri="{FF2B5EF4-FFF2-40B4-BE49-F238E27FC236}">
                <a16:creationId xmlns:a16="http://schemas.microsoft.com/office/drawing/2014/main" id="{B2104A90-AB85-064A-9E94-369771BBF758}"/>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28" name="Picture 27">
            <a:extLst>
              <a:ext uri="{FF2B5EF4-FFF2-40B4-BE49-F238E27FC236}">
                <a16:creationId xmlns:a16="http://schemas.microsoft.com/office/drawing/2014/main" id="{D1207B98-E252-494D-B5C8-7116C609543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1563071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grpId="1" nodeType="withEffect">
                                  <p:stCondLst>
                                    <p:cond delay="0"/>
                                  </p:stCondLst>
                                  <p:childTnLst>
                                    <p:animMotion origin="layout" path="M -4.375E-6 4.81481E-6 L -0.08932 4.81481E-6 " pathEditMode="relative" rAng="0" ptsTypes="AA">
                                      <p:cBhvr>
                                        <p:cTn id="9" dur="750" spd="-100000" fill="hold"/>
                                        <p:tgtEl>
                                          <p:spTgt spid="8"/>
                                        </p:tgtEl>
                                        <p:attrNameLst>
                                          <p:attrName>ppt_x</p:attrName>
                                          <p:attrName>ppt_y</p:attrName>
                                        </p:attrNameLst>
                                      </p:cBhvr>
                                      <p:rCtr x="-4466" y="0"/>
                                    </p:animMotion>
                                  </p:childTnLst>
                                </p:cTn>
                              </p:par>
                              <p:par>
                                <p:cTn id="10" presetID="10" presetClass="entr" presetSubtype="0" fill="hold" nodeType="withEffect">
                                  <p:stCondLst>
                                    <p:cond delay="5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750"/>
                                        <p:tgtEl>
                                          <p:spTgt spid="1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75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Fiv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l="27758" t="-39090"/>
          <a:stretch/>
        </p:blipFill>
        <p:spPr>
          <a:xfrm>
            <a:off x="-1" y="5836920"/>
            <a:ext cx="8051601" cy="703815"/>
          </a:xfrm>
          <a:prstGeom prst="rect">
            <a:avLst/>
          </a:prstGeom>
        </p:spPr>
      </p:pic>
      <p:sp>
        <p:nvSpPr>
          <p:cNvPr id="8" name="Rectangle 7">
            <a:extLst>
              <a:ext uri="{FF2B5EF4-FFF2-40B4-BE49-F238E27FC236}">
                <a16:creationId xmlns:a16="http://schemas.microsoft.com/office/drawing/2014/main" id="{B1B65A87-74B7-4DDC-9005-08BB70C5AC3D}"/>
              </a:ext>
            </a:extLst>
          </p:cNvPr>
          <p:cNvSpPr/>
          <p:nvPr userDrawn="1"/>
        </p:nvSpPr>
        <p:spPr>
          <a:xfrm>
            <a:off x="0" y="1129553"/>
            <a:ext cx="7383796" cy="4910891"/>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25588"/>
              </a:solidFill>
            </a:endParaRPr>
          </a:p>
        </p:txBody>
      </p:sp>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bg1"/>
                </a:solidFill>
              </a:defRPr>
            </a:lvl1pPr>
          </a:lstStyle>
          <a:p>
            <a:fld id="{8A6D9EF2-1078-4CF1-AE32-B8E5CFC7CD9F}" type="slidenum">
              <a:rPr lang="en-US" smtClean="0"/>
              <a:pPr/>
              <a:t>‹#›</a:t>
            </a:fld>
            <a:endParaRPr lang="en-US" dirty="0"/>
          </a:p>
        </p:txBody>
      </p:sp>
      <p:grpSp>
        <p:nvGrpSpPr>
          <p:cNvPr id="11" name="Group 10">
            <a:extLst>
              <a:ext uri="{FF2B5EF4-FFF2-40B4-BE49-F238E27FC236}">
                <a16:creationId xmlns:a16="http://schemas.microsoft.com/office/drawing/2014/main" id="{D94EC5DF-DFF4-4D21-BD59-0554E55E3B7B}"/>
              </a:ext>
            </a:extLst>
          </p:cNvPr>
          <p:cNvGrpSpPr/>
          <p:nvPr userDrawn="1"/>
        </p:nvGrpSpPr>
        <p:grpSpPr>
          <a:xfrm>
            <a:off x="684729" y="4586416"/>
            <a:ext cx="6048448" cy="309885"/>
            <a:chOff x="685800" y="1230120"/>
            <a:chExt cx="10820400" cy="180189"/>
          </a:xfrm>
        </p:grpSpPr>
        <p:pic>
          <p:nvPicPr>
            <p:cNvPr id="12" name="Picture 11">
              <a:extLst>
                <a:ext uri="{FF2B5EF4-FFF2-40B4-BE49-F238E27FC236}">
                  <a16:creationId xmlns:a16="http://schemas.microsoft.com/office/drawing/2014/main" id="{0370C7C3-5EF7-452B-83D8-E8680F9E0D1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3" name="Straight Connector 12">
              <a:extLst>
                <a:ext uri="{FF2B5EF4-FFF2-40B4-BE49-F238E27FC236}">
                  <a16:creationId xmlns:a16="http://schemas.microsoft.com/office/drawing/2014/main" id="{5E3BD062-6DCE-4B7E-AEC7-7C1D48B68244}"/>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511761"/>
            <a:ext cx="6056155" cy="2852737"/>
          </a:xfrm>
        </p:spPr>
        <p:txBody>
          <a:bodyPr anchor="b">
            <a:normAutofit/>
          </a:bodyPr>
          <a:lstStyle>
            <a:lvl1pPr>
              <a:lnSpc>
                <a:spcPts val="4400"/>
              </a:lnSpc>
              <a:defRPr sz="4000">
                <a:solidFill>
                  <a:schemeClr val="bg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874306"/>
            <a:ext cx="6056155" cy="791292"/>
          </a:xfrm>
        </p:spPr>
        <p:txBody>
          <a:bodyPr/>
          <a:lstStyle>
            <a:lvl1pPr marL="0" indent="0">
              <a:lnSpc>
                <a:spcPts val="2800"/>
              </a:lnSpc>
              <a:spcBef>
                <a:spcPts val="0"/>
              </a:spcBef>
              <a:spcAft>
                <a:spcPts val="900"/>
              </a:spcAft>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26" name="Straight Connector 25">
            <a:extLst>
              <a:ext uri="{FF2B5EF4-FFF2-40B4-BE49-F238E27FC236}">
                <a16:creationId xmlns:a16="http://schemas.microsoft.com/office/drawing/2014/main" id="{1519263B-C4BD-475B-BCA2-4C16C055EAE3}"/>
              </a:ext>
            </a:extLst>
          </p:cNvPr>
          <p:cNvCxnSpPr/>
          <p:nvPr userDrawn="1"/>
        </p:nvCxnSpPr>
        <p:spPr>
          <a:xfrm>
            <a:off x="11179926" y="6542036"/>
            <a:ext cx="0" cy="174157"/>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Footer Placeholder 2">
            <a:extLst>
              <a:ext uri="{FF2B5EF4-FFF2-40B4-BE49-F238E27FC236}">
                <a16:creationId xmlns:a16="http://schemas.microsoft.com/office/drawing/2014/main" id="{E6E5C130-0E20-BA47-A9F0-9D64564CEC12}"/>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bg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bg1"/>
                </a:solidFill>
                <a:latin typeface="Arial" panose="020B0604020202020204" pitchFamily="34" charset="0"/>
                <a:cs typeface="Arial" panose="020B0604020202020204" pitchFamily="34" charset="0"/>
              </a:rPr>
              <a:pPr algn="r"/>
              <a:t>8/17/2022</a:t>
            </a:fld>
            <a:r>
              <a:rPr lang="en-US" sz="900" b="0" i="0" dirty="0">
                <a:solidFill>
                  <a:schemeClr val="bg1"/>
                </a:solidFill>
                <a:latin typeface="Arial" panose="020B0604020202020204" pitchFamily="34" charset="0"/>
                <a:cs typeface="Arial" panose="020B0604020202020204" pitchFamily="34" charset="0"/>
              </a:rPr>
              <a:t> </a:t>
            </a:r>
          </a:p>
        </p:txBody>
      </p:sp>
      <p:pic>
        <p:nvPicPr>
          <p:cNvPr id="28" name="Picture 27">
            <a:extLst>
              <a:ext uri="{FF2B5EF4-FFF2-40B4-BE49-F238E27FC236}">
                <a16:creationId xmlns:a16="http://schemas.microsoft.com/office/drawing/2014/main" id="{78F65553-2CDF-7C43-9D00-CEAF32CC995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587640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grpId="1" nodeType="withEffect">
                                  <p:stCondLst>
                                    <p:cond delay="0"/>
                                  </p:stCondLst>
                                  <p:childTnLst>
                                    <p:animMotion origin="layout" path="M -4.375E-6 4.81481E-6 L -0.08932 4.81481E-6 " pathEditMode="relative" rAng="0" ptsTypes="AA">
                                      <p:cBhvr>
                                        <p:cTn id="9" dur="750" spd="-100000" fill="hold"/>
                                        <p:tgtEl>
                                          <p:spTgt spid="8"/>
                                        </p:tgtEl>
                                        <p:attrNameLst>
                                          <p:attrName>ppt_x</p:attrName>
                                          <p:attrName>ppt_y</p:attrName>
                                        </p:attrNameLst>
                                      </p:cBhvr>
                                      <p:rCtr x="-4466" y="0"/>
                                    </p:animMotion>
                                  </p:childTnLst>
                                </p:cTn>
                              </p:par>
                              <p:par>
                                <p:cTn id="10" presetID="10"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nodeType="withEffect">
                                  <p:stCondLst>
                                    <p:cond delay="0"/>
                                  </p:stCondLst>
                                  <p:childTnLst>
                                    <p:animMotion origin="layout" path="M -4.375E-6 4.81481E-6 L -0.08932 4.81481E-6 " pathEditMode="relative" rAng="0" ptsTypes="AA">
                                      <p:cBhvr>
                                        <p:cTn id="14" dur="750" spd="-100000" fill="hold"/>
                                        <p:tgtEl>
                                          <p:spTgt spid="4"/>
                                        </p:tgtEl>
                                        <p:attrNameLst>
                                          <p:attrName>ppt_x</p:attrName>
                                          <p:attrName>ppt_y</p:attrName>
                                        </p:attrNameLst>
                                      </p:cBhvr>
                                      <p:rCtr x="-4466" y="0"/>
                                    </p:animMotion>
                                  </p:childTnLst>
                                </p:cTn>
                              </p:par>
                              <p:par>
                                <p:cTn id="15" presetID="10" presetClass="entr" presetSubtype="0" fill="hold" nodeType="withEffect">
                                  <p:stCondLst>
                                    <p:cond delay="50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750"/>
                                        <p:tgtEl>
                                          <p:spTgt spid="11"/>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750"/>
                                        <p:tgtEl>
                                          <p:spTgt spid="2"/>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
                                            <p:txEl>
                                              <p:pRg st="0" end="0"/>
                                            </p:txEl>
                                          </p:spTgt>
                                        </p:tgtEl>
                                        <p:attrNameLst>
                                          <p:attrName>style.visibility</p:attrName>
                                        </p:attrNameLst>
                                      </p:cBhvr>
                                      <p:to>
                                        <p:strVal val="visible"/>
                                      </p:to>
                                    </p:set>
                                    <p:animEffect transition="in" filter="fade">
                                      <p:cBhvr>
                                        <p:cTn id="23" dur="75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Six Sketch">
    <p:bg>
      <p:bgPr>
        <a:solidFill>
          <a:srgbClr val="00518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32ACD77-C840-9649-8996-8069E0C7CB3B}"/>
              </a:ext>
            </a:extLst>
          </p:cNvPr>
          <p:cNvPicPr>
            <a:picLocks noChangeAspect="1"/>
          </p:cNvPicPr>
          <p:nvPr userDrawn="1"/>
        </p:nvPicPr>
        <p:blipFill rotWithShape="1">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0725" r="32470" b="14143"/>
          <a:stretch/>
        </p:blipFill>
        <p:spPr>
          <a:xfrm>
            <a:off x="5101488" y="0"/>
            <a:ext cx="7242912" cy="6858001"/>
          </a:xfrm>
          <a:prstGeom prst="rect">
            <a:avLst/>
          </a:prstGeom>
        </p:spPr>
      </p:pic>
      <p:sp>
        <p:nvSpPr>
          <p:cNvPr id="8" name="Rectangle 7">
            <a:extLst>
              <a:ext uri="{FF2B5EF4-FFF2-40B4-BE49-F238E27FC236}">
                <a16:creationId xmlns:a16="http://schemas.microsoft.com/office/drawing/2014/main" id="{B1B65A87-74B7-4DDC-9005-08BB70C5AC3D}"/>
              </a:ext>
            </a:extLst>
          </p:cNvPr>
          <p:cNvSpPr/>
          <p:nvPr userDrawn="1"/>
        </p:nvSpPr>
        <p:spPr>
          <a:xfrm>
            <a:off x="0" y="1129553"/>
            <a:ext cx="7383796" cy="4910891"/>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25588"/>
              </a:solidFill>
            </a:endParaRPr>
          </a:p>
        </p:txBody>
      </p:sp>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grpSp>
        <p:nvGrpSpPr>
          <p:cNvPr id="11" name="Group 10">
            <a:extLst>
              <a:ext uri="{FF2B5EF4-FFF2-40B4-BE49-F238E27FC236}">
                <a16:creationId xmlns:a16="http://schemas.microsoft.com/office/drawing/2014/main" id="{D94EC5DF-DFF4-4D21-BD59-0554E55E3B7B}"/>
              </a:ext>
            </a:extLst>
          </p:cNvPr>
          <p:cNvGrpSpPr/>
          <p:nvPr userDrawn="1"/>
        </p:nvGrpSpPr>
        <p:grpSpPr>
          <a:xfrm>
            <a:off x="684729" y="4586416"/>
            <a:ext cx="6048448" cy="309885"/>
            <a:chOff x="685800" y="1230120"/>
            <a:chExt cx="10820400" cy="180189"/>
          </a:xfrm>
        </p:grpSpPr>
        <p:pic>
          <p:nvPicPr>
            <p:cNvPr id="12" name="Picture 11">
              <a:extLst>
                <a:ext uri="{FF2B5EF4-FFF2-40B4-BE49-F238E27FC236}">
                  <a16:creationId xmlns:a16="http://schemas.microsoft.com/office/drawing/2014/main" id="{0370C7C3-5EF7-452B-83D8-E8680F9E0D1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3" name="Straight Connector 12">
              <a:extLst>
                <a:ext uri="{FF2B5EF4-FFF2-40B4-BE49-F238E27FC236}">
                  <a16:creationId xmlns:a16="http://schemas.microsoft.com/office/drawing/2014/main" id="{5E3BD062-6DCE-4B7E-AEC7-7C1D48B68244}"/>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511761"/>
            <a:ext cx="6056155" cy="2852737"/>
          </a:xfrm>
        </p:spPr>
        <p:txBody>
          <a:bodyPr anchor="b">
            <a:normAutofit/>
          </a:bodyPr>
          <a:lstStyle>
            <a:lvl1pPr>
              <a:lnSpc>
                <a:spcPts val="4400"/>
              </a:lnSpc>
              <a:defRPr sz="4000">
                <a:solidFill>
                  <a:schemeClr val="bg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874306"/>
            <a:ext cx="6056155" cy="791292"/>
          </a:xfrm>
        </p:spPr>
        <p:txBody>
          <a:bodyPr/>
          <a:lstStyle>
            <a:lvl1pPr marL="0" indent="0">
              <a:lnSpc>
                <a:spcPts val="2800"/>
              </a:lnSpc>
              <a:spcBef>
                <a:spcPts val="0"/>
              </a:spcBef>
              <a:spcAft>
                <a:spcPts val="900"/>
              </a:spcAft>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26" name="Straight Connector 25">
            <a:extLst>
              <a:ext uri="{FF2B5EF4-FFF2-40B4-BE49-F238E27FC236}">
                <a16:creationId xmlns:a16="http://schemas.microsoft.com/office/drawing/2014/main" id="{782211FD-E564-4960-A95B-D074C1E3444E}"/>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Footer Placeholder 2">
            <a:extLst>
              <a:ext uri="{FF2B5EF4-FFF2-40B4-BE49-F238E27FC236}">
                <a16:creationId xmlns:a16="http://schemas.microsoft.com/office/drawing/2014/main" id="{E8DB82D6-F0B4-314B-9F04-30E5A6CD8D00}"/>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28" name="Picture 27">
            <a:extLst>
              <a:ext uri="{FF2B5EF4-FFF2-40B4-BE49-F238E27FC236}">
                <a16:creationId xmlns:a16="http://schemas.microsoft.com/office/drawing/2014/main" id="{DDB95966-0A04-354D-9454-B66E63096142}"/>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1760864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grpId="1" nodeType="withEffect">
                                  <p:stCondLst>
                                    <p:cond delay="0"/>
                                  </p:stCondLst>
                                  <p:childTnLst>
                                    <p:animMotion origin="layout" path="M -4.375E-6 4.81481E-6 L -0.08932 4.81481E-6 " pathEditMode="relative" rAng="0" ptsTypes="AA">
                                      <p:cBhvr>
                                        <p:cTn id="9" dur="750" spd="-100000" fill="hold"/>
                                        <p:tgtEl>
                                          <p:spTgt spid="8"/>
                                        </p:tgtEl>
                                        <p:attrNameLst>
                                          <p:attrName>ppt_x</p:attrName>
                                          <p:attrName>ppt_y</p:attrName>
                                        </p:attrNameLst>
                                      </p:cBhvr>
                                      <p:rCtr x="-4466" y="0"/>
                                    </p:animMotion>
                                  </p:childTnLst>
                                </p:cTn>
                              </p:par>
                              <p:par>
                                <p:cTn id="10" presetID="10" presetClass="entr" presetSubtype="0" fill="hold" nodeType="withEffect">
                                  <p:stCondLst>
                                    <p:cond delay="5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750"/>
                                        <p:tgtEl>
                                          <p:spTgt spid="1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75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1B65A87-74B7-4DDC-9005-08BB70C5AC3D}"/>
              </a:ext>
            </a:extLst>
          </p:cNvPr>
          <p:cNvSpPr/>
          <p:nvPr userDrawn="1"/>
        </p:nvSpPr>
        <p:spPr>
          <a:xfrm>
            <a:off x="1" y="936815"/>
            <a:ext cx="6715495" cy="5292700"/>
          </a:xfrm>
          <a:prstGeom prst="rect">
            <a:avLst/>
          </a:prstGeom>
          <a:solidFill>
            <a:srgbClr val="002A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a:extLst>
              <a:ext uri="{FF2B5EF4-FFF2-40B4-BE49-F238E27FC236}">
                <a16:creationId xmlns:a16="http://schemas.microsoft.com/office/drawing/2014/main" id="{9758FBB0-1CB8-4647-8216-3B2DDEF43196}"/>
              </a:ext>
            </a:extLst>
          </p:cNvPr>
          <p:cNvCxnSpPr>
            <a:cxnSpLocks/>
          </p:cNvCxnSpPr>
          <p:nvPr userDrawn="1"/>
        </p:nvCxnSpPr>
        <p:spPr>
          <a:xfrm>
            <a:off x="682036" y="4403647"/>
            <a:ext cx="1194254" cy="0"/>
          </a:xfrm>
          <a:prstGeom prst="line">
            <a:avLst/>
          </a:prstGeom>
          <a:ln w="31750">
            <a:solidFill>
              <a:srgbClr val="8AE7FF"/>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3"/>
          </p:nvPr>
        </p:nvSpPr>
        <p:spPr>
          <a:xfrm>
            <a:off x="438745" y="1266396"/>
            <a:ext cx="5408798" cy="2683900"/>
          </a:xfrm>
        </p:spPr>
        <p:txBody>
          <a:bodyPr anchor="b">
            <a:normAutofit/>
          </a:bodyPr>
          <a:lstStyle>
            <a:lvl1pPr marL="228600" indent="-228600">
              <a:lnSpc>
                <a:spcPts val="3600"/>
              </a:lnSpc>
              <a:spcBef>
                <a:spcPts val="0"/>
              </a:spcBef>
              <a:spcAft>
                <a:spcPts val="900"/>
              </a:spcAft>
              <a:buClrTx/>
              <a:buFont typeface=".LucidaGrandeUI" charset="0"/>
              <a:buChar char="“"/>
              <a:defRPr sz="3200"/>
            </a:lvl1pPr>
            <a:lvl2pPr marL="230188" indent="-211138">
              <a:spcBef>
                <a:spcPts val="0"/>
              </a:spcBef>
              <a:buClr>
                <a:schemeClr val="tx1"/>
              </a:buClr>
              <a:buFont typeface=".LucidaGrandeUI" charset="0"/>
              <a:buChar char="“"/>
              <a:tabLst/>
              <a:defRPr sz="3200"/>
            </a:lvl2pPr>
            <a:lvl3pPr marL="230188" indent="-173038">
              <a:spcBef>
                <a:spcPts val="0"/>
              </a:spcBef>
              <a:buClrTx/>
              <a:buFont typeface=".LucidaGrandeUI" charset="0"/>
              <a:buChar char="“"/>
              <a:tabLst/>
              <a:defRPr sz="2800" b="0"/>
            </a:lvl3pPr>
            <a:lvl4pPr marL="228600" indent="-153988">
              <a:spcBef>
                <a:spcPts val="0"/>
              </a:spcBef>
              <a:buFont typeface=".LucidaGrandeUI" charset="0"/>
              <a:buChar char="“"/>
              <a:tabLst/>
              <a:defRPr sz="2800" b="0">
                <a:solidFill>
                  <a:schemeClr val="tx1"/>
                </a:solidFill>
              </a:defRPr>
            </a:lvl4pPr>
            <a:lvl5pPr marL="228600" indent="-114300">
              <a:spcBef>
                <a:spcPts val="0"/>
              </a:spcBef>
              <a:buFont typeface=".LucidaGrandeUI" charset="0"/>
              <a:buChar char="“"/>
              <a:tabLst/>
              <a:defRPr sz="2800" b="0">
                <a:solidFill>
                  <a:schemeClr val="tx1"/>
                </a:solidFill>
              </a:defRPr>
            </a:lvl5pPr>
            <a:lvl6pPr marL="152400" indent="0">
              <a:spcBef>
                <a:spcPts val="0"/>
              </a:spcBef>
              <a:buFont typeface=".LucidaGrandeUI" charset="0"/>
              <a:buNone/>
              <a:tabLst/>
              <a:defRPr sz="1800" b="0">
                <a:solidFill>
                  <a:schemeClr val="tx1"/>
                </a:solidFill>
              </a:defRPr>
            </a:lvl6pPr>
            <a:lvl7pPr marL="228600" indent="-76200">
              <a:spcBef>
                <a:spcPts val="0"/>
              </a:spcBef>
              <a:buFont typeface=".LucidaGrandeUI" charset="0"/>
              <a:buChar char="‟"/>
              <a:tabLst/>
              <a:defRPr sz="1800" b="0">
                <a:solidFill>
                  <a:schemeClr val="tx1"/>
                </a:solidFill>
              </a:defRPr>
            </a:lvl7pPr>
            <a:lvl8pPr marL="228600" indent="-76200">
              <a:spcBef>
                <a:spcPts val="0"/>
              </a:spcBef>
              <a:buFont typeface=".LucidaGrandeUI" charset="0"/>
              <a:buChar char="‟"/>
              <a:tabLst/>
              <a:defRPr sz="1800" b="0">
                <a:solidFill>
                  <a:schemeClr val="tx1"/>
                </a:solidFill>
              </a:defRPr>
            </a:lvl8pPr>
          </a:lstStyle>
          <a:p>
            <a:pPr lvl="0"/>
            <a:r>
              <a:rPr lang="en-US" dirty="0"/>
              <a:t>Click to edit Master text styles</a:t>
            </a:r>
          </a:p>
        </p:txBody>
      </p:sp>
      <p:sp>
        <p:nvSpPr>
          <p:cNvPr id="25" name="Text Placeholder 24"/>
          <p:cNvSpPr>
            <a:spLocks noGrp="1"/>
          </p:cNvSpPr>
          <p:nvPr>
            <p:ph type="body" sz="quarter" idx="14"/>
          </p:nvPr>
        </p:nvSpPr>
        <p:spPr>
          <a:xfrm>
            <a:off x="650649" y="4734282"/>
            <a:ext cx="5175339" cy="1251024"/>
          </a:xfrm>
        </p:spPr>
        <p:txBody>
          <a:bodyPr/>
          <a:lstStyle>
            <a:lvl1pPr marL="19050" indent="0">
              <a:buFont typeface=".AppleSystemUIFont" charset="-120"/>
              <a:buChar char="​"/>
              <a:tabLst/>
              <a:defRPr sz="2000">
                <a:solidFill>
                  <a:schemeClr val="accent1">
                    <a:lumMod val="60000"/>
                    <a:lumOff val="40000"/>
                  </a:schemeClr>
                </a:solidFill>
              </a:defRPr>
            </a:lvl1pPr>
            <a:lvl2pPr marL="19050" indent="0">
              <a:spcBef>
                <a:spcPts val="0"/>
              </a:spcBef>
              <a:spcAft>
                <a:spcPts val="0"/>
              </a:spcAft>
              <a:buFont typeface=".AppleSystemUIFont" charset="-120"/>
              <a:buChar char="​"/>
              <a:tabLst/>
              <a:defRPr sz="1600">
                <a:solidFill>
                  <a:schemeClr val="bg1">
                    <a:lumMod val="20000"/>
                    <a:lumOff val="80000"/>
                  </a:schemeClr>
                </a:solidFill>
              </a:defRPr>
            </a:lvl2pPr>
            <a:lvl3pPr marL="19050" indent="0">
              <a:spcBef>
                <a:spcPts val="0"/>
              </a:spcBef>
              <a:spcAft>
                <a:spcPts val="0"/>
              </a:spcAft>
              <a:buFont typeface=".AppleSystemUIFont" charset="-120"/>
              <a:buChar char="​"/>
              <a:tabLst/>
              <a:defRPr sz="1600">
                <a:solidFill>
                  <a:schemeClr val="bg1">
                    <a:lumMod val="20000"/>
                    <a:lumOff val="80000"/>
                  </a:schemeClr>
                </a:solidFill>
              </a:defRPr>
            </a:lvl3pPr>
            <a:lvl4pPr marL="19050" indent="0">
              <a:spcBef>
                <a:spcPts val="0"/>
              </a:spcBef>
              <a:spcAft>
                <a:spcPts val="0"/>
              </a:spcAft>
              <a:buFont typeface=".AppleSystemUIFont" charset="-120"/>
              <a:buChar char="​"/>
              <a:tabLst/>
              <a:defRPr sz="1600" b="0">
                <a:solidFill>
                  <a:schemeClr val="bg1">
                    <a:lumMod val="20000"/>
                    <a:lumOff val="80000"/>
                  </a:schemeClr>
                </a:solidFill>
              </a:defRPr>
            </a:lvl4pPr>
            <a:lvl5pPr marL="19050" indent="0">
              <a:spcBef>
                <a:spcPts val="0"/>
              </a:spcBef>
              <a:spcAft>
                <a:spcPts val="0"/>
              </a:spcAft>
              <a:buFont typeface=".AppleSystemUIFont" charset="-120"/>
              <a:buChar char="​"/>
              <a:tabLst/>
              <a:defRPr sz="1600">
                <a:solidFill>
                  <a:schemeClr val="bg1">
                    <a:lumMod val="20000"/>
                    <a:lumOff val="80000"/>
                  </a:schemeClr>
                </a:solidFill>
              </a:defRPr>
            </a:lvl5pPr>
            <a:lvl6pPr>
              <a:spcBef>
                <a:spcPts val="0"/>
              </a:spcBef>
              <a:spcAft>
                <a:spcPts val="600"/>
              </a:spcAft>
              <a:defRPr sz="1800">
                <a:solidFill>
                  <a:schemeClr val="bg1">
                    <a:lumMod val="20000"/>
                    <a:lumOff val="80000"/>
                  </a:schemeClr>
                </a:solidFill>
              </a:defRPr>
            </a:lvl6pPr>
            <a:lvl7pPr>
              <a:spcBef>
                <a:spcPts val="0"/>
              </a:spcBef>
              <a:spcAft>
                <a:spcPts val="600"/>
              </a:spcAft>
              <a:defRPr sz="1800">
                <a:solidFill>
                  <a:schemeClr val="bg1">
                    <a:lumMod val="20000"/>
                    <a:lumOff val="80000"/>
                  </a:schemeClr>
                </a:solidFill>
              </a:defRPr>
            </a:lvl7pPr>
            <a:lvl8pPr>
              <a:spcBef>
                <a:spcPts val="0"/>
              </a:spcBef>
              <a:spcAft>
                <a:spcPts val="600"/>
              </a:spcAft>
              <a:defRPr sz="1800">
                <a:solidFill>
                  <a:schemeClr val="bg1">
                    <a:lumMod val="20000"/>
                    <a:lumOff val="80000"/>
                  </a:schemeClr>
                </a:solidFill>
              </a:defRPr>
            </a:lvl8pPr>
            <a:lvl9pPr>
              <a:spcBef>
                <a:spcPts val="0"/>
              </a:spcBef>
              <a:spcAft>
                <a:spcPts val="600"/>
              </a:spcAft>
              <a:defRPr sz="1800">
                <a:solidFill>
                  <a:schemeClr val="bg1">
                    <a:lumMod val="20000"/>
                    <a:lumOff val="80000"/>
                  </a:schemeClr>
                </a:solidFill>
              </a:defRPr>
            </a:lvl9pPr>
          </a:lstStyle>
          <a:p>
            <a:pPr lvl="0"/>
            <a:r>
              <a:rPr lang="en-US" dirty="0"/>
              <a:t>Click to edit Master text styles</a:t>
            </a:r>
          </a:p>
        </p:txBody>
      </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l="45285"/>
          <a:stretch/>
        </p:blipFill>
        <p:spPr>
          <a:xfrm>
            <a:off x="5521124" y="0"/>
            <a:ext cx="6670876" cy="6858000"/>
          </a:xfrm>
          <a:prstGeom prst="rect">
            <a:avLst/>
          </a:prstGeom>
        </p:spPr>
      </p:pic>
      <p:cxnSp>
        <p:nvCxnSpPr>
          <p:cNvPr id="22" name="Straight Connector 21">
            <a:extLst>
              <a:ext uri="{FF2B5EF4-FFF2-40B4-BE49-F238E27FC236}">
                <a16:creationId xmlns:a16="http://schemas.microsoft.com/office/drawing/2014/main" id="{F2DE1AD1-8B4D-4385-A468-87B32C55F940}"/>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Footer Placeholder 2">
            <a:extLst>
              <a:ext uri="{FF2B5EF4-FFF2-40B4-BE49-F238E27FC236}">
                <a16:creationId xmlns:a16="http://schemas.microsoft.com/office/drawing/2014/main" id="{00106004-3D86-5E4A-BC26-8B07241C6DBD}"/>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26" name="Picture 25">
            <a:extLst>
              <a:ext uri="{FF2B5EF4-FFF2-40B4-BE49-F238E27FC236}">
                <a16:creationId xmlns:a16="http://schemas.microsoft.com/office/drawing/2014/main" id="{28A5BC63-80C7-C546-89A0-3184FB886C8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0" nodeType="withEffect">
                                  <p:stCondLst>
                                    <p:cond delay="0"/>
                                  </p:stCondLst>
                                  <p:childTnLst>
                                    <p:animMotion origin="layout" path="M -6.25E-7 -3.7037E-6 L -0.09909 -3.7037E-6 " pathEditMode="relative" rAng="0" ptsTypes="AA">
                                      <p:cBhvr>
                                        <p:cTn id="9" dur="1000" spd="-100000" fill="hold"/>
                                        <p:tgtEl>
                                          <p:spTgt spid="19"/>
                                        </p:tgtEl>
                                        <p:attrNameLst>
                                          <p:attrName>ppt_x</p:attrName>
                                          <p:attrName>ppt_y</p:attrName>
                                        </p:attrNameLst>
                                      </p:cBhvr>
                                      <p:rCtr x="-4961" y="0"/>
                                    </p:animMotion>
                                  </p:childTnLst>
                                </p:cTn>
                              </p:par>
                              <p:par>
                                <p:cTn id="10" presetID="10" presetClass="entr" presetSubtype="0" fill="hold" nodeType="withEffect">
                                  <p:stCondLst>
                                    <p:cond delay="50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750"/>
                                        <p:tgtEl>
                                          <p:spTgt spid="23"/>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750"/>
                                        <p:tgtEl>
                                          <p:spTgt spid="8">
                                            <p:txEl>
                                              <p:pRg st="0" end="0"/>
                                            </p:txEl>
                                          </p:spTgt>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fade">
                                      <p:cBhvr>
                                        <p:cTn id="18" dur="750"/>
                                        <p:tgtEl>
                                          <p:spTgt spid="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8" grpId="0" build="p">
        <p:tmplLst>
          <p:tmpl lvl="1">
            <p:tnLst>
              <p:par>
                <p:cTn presetID="10" presetClass="entr" presetSubtype="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 lvl="2">
            <p:tnLst>
              <p:par>
                <p:cTn presetID="10" presetClass="entr" presetSubtype="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 lvl="3">
            <p:tnLst>
              <p:par>
                <p:cTn presetID="10" presetClass="entr" presetSubtype="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 lvl="4">
            <p:tnLst>
              <p:par>
                <p:cTn presetID="10" presetClass="entr" presetSubtype="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 lvl="5">
            <p:tnLst>
              <p:par>
                <p:cTn presetID="10" presetClass="entr" presetSubtype="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P spid="25" grpId="0" build="p">
        <p:tmplLst>
          <p:tmpl lvl="1">
            <p:tnLst>
              <p:par>
                <p:cTn presetID="10" presetClass="entr" presetSubtype="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Effect transition="in" filter="fade">
                      <p:cBhvr>
                        <p:cTn dur="750"/>
                        <p:tgtEl>
                          <p:spTgt spid="25"/>
                        </p:tgtEl>
                      </p:cBhvr>
                    </p:animEffect>
                  </p:childTnLst>
                </p:cTn>
              </p:par>
            </p:tnLst>
          </p:tmpl>
          <p:tmpl lvl="2">
            <p:tnLst>
              <p:par>
                <p:cTn presetID="10" presetClass="entr" presetSubtype="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Effect transition="in" filter="fade">
                      <p:cBhvr>
                        <p:cTn dur="750"/>
                        <p:tgtEl>
                          <p:spTgt spid="25"/>
                        </p:tgtEl>
                      </p:cBhvr>
                    </p:animEffect>
                  </p:childTnLst>
                </p:cTn>
              </p:par>
            </p:tnLst>
          </p:tmpl>
          <p:tmpl lvl="3">
            <p:tnLst>
              <p:par>
                <p:cTn presetID="10" presetClass="entr" presetSubtype="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Effect transition="in" filter="fade">
                      <p:cBhvr>
                        <p:cTn dur="750"/>
                        <p:tgtEl>
                          <p:spTgt spid="25"/>
                        </p:tgtEl>
                      </p:cBhvr>
                    </p:animEffect>
                  </p:childTnLst>
                </p:cTn>
              </p:par>
            </p:tnLst>
          </p:tmpl>
          <p:tmpl lvl="4">
            <p:tnLst>
              <p:par>
                <p:cTn presetID="10" presetClass="entr" presetSubtype="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Effect transition="in" filter="fade">
                      <p:cBhvr>
                        <p:cTn dur="750"/>
                        <p:tgtEl>
                          <p:spTgt spid="25"/>
                        </p:tgtEl>
                      </p:cBhvr>
                    </p:animEffect>
                  </p:childTnLst>
                </p:cTn>
              </p:par>
            </p:tnLst>
          </p:tmpl>
          <p:tmpl lvl="5">
            <p:tnLst>
              <p:par>
                <p:cTn presetID="10" presetClass="entr" presetSubtype="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Effect transition="in" filter="fade">
                      <p:cBhvr>
                        <p:cTn dur="750"/>
                        <p:tgtEl>
                          <p:spTgt spid="25"/>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con Statement">
    <p:bg>
      <p:bgPr>
        <a:solidFill>
          <a:schemeClr val="bg2">
            <a:lumMod val="50000"/>
          </a:schemeClr>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110452"/>
            <a:ext cx="10844009" cy="2852737"/>
          </a:xfrm>
        </p:spPr>
        <p:txBody>
          <a:bodyPr anchor="b">
            <a:normAutofit/>
          </a:bodyPr>
          <a:lstStyle>
            <a:lvl1pPr algn="ctr">
              <a:lnSpc>
                <a:spcPts val="4400"/>
              </a:lnSpc>
              <a:defRPr sz="4000">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472997"/>
            <a:ext cx="10844009" cy="791292"/>
          </a:xfrm>
        </p:spPr>
        <p:txBody>
          <a:bodyPr/>
          <a:lstStyle>
            <a:lvl1pPr marL="0" indent="0" algn="ctr">
              <a:buNone/>
              <a:defRPr sz="2400">
                <a:solidFill>
                  <a:srgbClr val="8AE7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4" name="Straight Connector 13">
            <a:extLst>
              <a:ext uri="{FF2B5EF4-FFF2-40B4-BE49-F238E27FC236}">
                <a16:creationId xmlns:a16="http://schemas.microsoft.com/office/drawing/2014/main" id="{9758FBB0-1CB8-4647-8216-3B2DDEF43196}"/>
              </a:ext>
            </a:extLst>
          </p:cNvPr>
          <p:cNvCxnSpPr>
            <a:cxnSpLocks/>
          </p:cNvCxnSpPr>
          <p:nvPr userDrawn="1"/>
        </p:nvCxnSpPr>
        <p:spPr>
          <a:xfrm>
            <a:off x="5498873" y="4250540"/>
            <a:ext cx="1194254" cy="0"/>
          </a:xfrm>
          <a:prstGeom prst="line">
            <a:avLst/>
          </a:prstGeom>
          <a:ln w="31750">
            <a:solidFill>
              <a:srgbClr val="8AE7F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B2168D8-022B-4346-B4A2-9040A6291167}"/>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Picture Placeholder 14">
            <a:extLst>
              <a:ext uri="{FF2B5EF4-FFF2-40B4-BE49-F238E27FC236}">
                <a16:creationId xmlns:a16="http://schemas.microsoft.com/office/drawing/2014/main" id="{C5AA1DD9-48AB-8346-89DA-0BB82E37E6C0}"/>
              </a:ext>
            </a:extLst>
          </p:cNvPr>
          <p:cNvSpPr>
            <a:spLocks noGrp="1" noChangeAspect="1"/>
          </p:cNvSpPr>
          <p:nvPr>
            <p:ph type="pic" sz="quarter" idx="20"/>
          </p:nvPr>
        </p:nvSpPr>
        <p:spPr>
          <a:xfrm>
            <a:off x="5364480" y="887996"/>
            <a:ext cx="1463040" cy="1463040"/>
          </a:xfrm>
        </p:spPr>
        <p:txBody>
          <a:bodyPr/>
          <a:lstStyle/>
          <a:p>
            <a:endParaRPr lang="en-US"/>
          </a:p>
        </p:txBody>
      </p:sp>
      <p:sp>
        <p:nvSpPr>
          <p:cNvPr id="19" name="Footer Placeholder 2">
            <a:extLst>
              <a:ext uri="{FF2B5EF4-FFF2-40B4-BE49-F238E27FC236}">
                <a16:creationId xmlns:a16="http://schemas.microsoft.com/office/drawing/2014/main" id="{EBC2CCAC-F154-AA47-BD2A-127A27307953}"/>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20" name="Picture 19">
            <a:extLst>
              <a:ext uri="{FF2B5EF4-FFF2-40B4-BE49-F238E27FC236}">
                <a16:creationId xmlns:a16="http://schemas.microsoft.com/office/drawing/2014/main" id="{83754CFF-6CFF-C546-A77D-541D9079E5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1797908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secHead" preserve="1">
  <p:cSld name="Big Statement Blu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18D041F-C5CF-5746-A746-6904A263402B}"/>
              </a:ext>
            </a:extLst>
          </p:cNvPr>
          <p:cNvSpPr/>
          <p:nvPr userDrawn="1"/>
        </p:nvSpPr>
        <p:spPr>
          <a:xfrm>
            <a:off x="0" y="0"/>
            <a:ext cx="12192000" cy="6858000"/>
          </a:xfrm>
          <a:prstGeom prst="rect">
            <a:avLst/>
          </a:prstGeom>
          <a:solidFill>
            <a:srgbClr val="0069A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110452"/>
            <a:ext cx="10844009" cy="2852737"/>
          </a:xfrm>
        </p:spPr>
        <p:txBody>
          <a:bodyPr anchor="b">
            <a:normAutofit/>
          </a:bodyPr>
          <a:lstStyle>
            <a:lvl1pPr algn="ctr">
              <a:lnSpc>
                <a:spcPts val="4400"/>
              </a:lnSpc>
              <a:defRPr sz="4000">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472997"/>
            <a:ext cx="10844009" cy="791292"/>
          </a:xfrm>
        </p:spPr>
        <p:txBody>
          <a:bodyPr/>
          <a:lstStyle>
            <a:lvl1pPr marL="0" indent="0" algn="ctr">
              <a:lnSpc>
                <a:spcPts val="2800"/>
              </a:lnSpc>
              <a:spcBef>
                <a:spcPts val="0"/>
              </a:spcBef>
              <a:spcAft>
                <a:spcPts val="90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4" name="Straight Connector 13">
            <a:extLst>
              <a:ext uri="{FF2B5EF4-FFF2-40B4-BE49-F238E27FC236}">
                <a16:creationId xmlns:a16="http://schemas.microsoft.com/office/drawing/2014/main" id="{9758FBB0-1CB8-4647-8216-3B2DDEF43196}"/>
              </a:ext>
            </a:extLst>
          </p:cNvPr>
          <p:cNvCxnSpPr>
            <a:cxnSpLocks/>
          </p:cNvCxnSpPr>
          <p:nvPr userDrawn="1"/>
        </p:nvCxnSpPr>
        <p:spPr>
          <a:xfrm>
            <a:off x="5498873" y="4250540"/>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3C0391C-E00B-4BEA-B43F-7CCFC03AA02F}"/>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Footer Placeholder 2">
            <a:extLst>
              <a:ext uri="{FF2B5EF4-FFF2-40B4-BE49-F238E27FC236}">
                <a16:creationId xmlns:a16="http://schemas.microsoft.com/office/drawing/2014/main" id="{4D85ED52-CC71-F942-8EDA-35BEE2CA70B2}"/>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23" name="Picture 22">
            <a:extLst>
              <a:ext uri="{FF2B5EF4-FFF2-40B4-BE49-F238E27FC236}">
                <a16:creationId xmlns:a16="http://schemas.microsoft.com/office/drawing/2014/main" id="{2CCBF7FA-E455-FB4B-B852-D189DB17E36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Spanish Ho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66" name="Straight Connector 65">
            <a:extLst>
              <a:ext uri="{FF2B5EF4-FFF2-40B4-BE49-F238E27FC236}">
                <a16:creationId xmlns:a16="http://schemas.microsoft.com/office/drawing/2014/main" id="{A38540A2-F3EC-F547-891E-682F77A95798}"/>
              </a:ext>
            </a:extLst>
          </p:cNvPr>
          <p:cNvCxnSpPr>
            <a:cxnSpLocks/>
          </p:cNvCxnSpPr>
          <p:nvPr userDrawn="1"/>
        </p:nvCxnSpPr>
        <p:spPr>
          <a:xfrm>
            <a:off x="673281" y="3920604"/>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sp>
        <p:nvSpPr>
          <p:cNvPr id="68" name="Title 1">
            <a:extLst>
              <a:ext uri="{FF2B5EF4-FFF2-40B4-BE49-F238E27FC236}">
                <a16:creationId xmlns:a16="http://schemas.microsoft.com/office/drawing/2014/main" id="{EED9047E-70D0-3541-B342-0849576AE184}"/>
              </a:ext>
            </a:extLst>
          </p:cNvPr>
          <p:cNvSpPr>
            <a:spLocks noGrp="1"/>
          </p:cNvSpPr>
          <p:nvPr>
            <p:ph type="ctrTitle"/>
          </p:nvPr>
        </p:nvSpPr>
        <p:spPr>
          <a:xfrm>
            <a:off x="679631" y="1929661"/>
            <a:ext cx="7251031" cy="1749760"/>
          </a:xfrm>
        </p:spPr>
        <p:txBody>
          <a:bodyPr anchor="b">
            <a:normAutofit/>
          </a:bodyPr>
          <a:lstStyle>
            <a:lvl1pPr algn="l">
              <a:lnSpc>
                <a:spcPts val="4400"/>
              </a:lnSpc>
              <a:defRPr sz="4000" b="0" spc="60" baseline="0">
                <a:solidFill>
                  <a:schemeClr val="tx1"/>
                </a:solidFill>
              </a:defRPr>
            </a:lvl1pPr>
          </a:lstStyle>
          <a:p>
            <a:r>
              <a:rPr lang="en-US" dirty="0"/>
              <a:t>Click to edit Master title style</a:t>
            </a:r>
          </a:p>
        </p:txBody>
      </p:sp>
      <p:sp>
        <p:nvSpPr>
          <p:cNvPr id="71" name="Text Placeholder 21">
            <a:extLst>
              <a:ext uri="{FF2B5EF4-FFF2-40B4-BE49-F238E27FC236}">
                <a16:creationId xmlns:a16="http://schemas.microsoft.com/office/drawing/2014/main" id="{4AD73828-5149-E246-ACA1-32CD306CDF70}"/>
              </a:ext>
            </a:extLst>
          </p:cNvPr>
          <p:cNvSpPr>
            <a:spLocks noGrp="1"/>
          </p:cNvSpPr>
          <p:nvPr>
            <p:ph type="body" sz="quarter" idx="13"/>
          </p:nvPr>
        </p:nvSpPr>
        <p:spPr>
          <a:xfrm>
            <a:off x="670969" y="4808982"/>
            <a:ext cx="5301815" cy="1600610"/>
          </a:xfrm>
        </p:spPr>
        <p:txBody>
          <a:bodyPr>
            <a:normAutofit/>
          </a:bodyPr>
          <a:lstStyle>
            <a:lvl1pPr marL="19050" indent="0">
              <a:spcBef>
                <a:spcPts val="0"/>
              </a:spcBef>
              <a:buFont typeface=".AppleSystemUIFont" charset="-120"/>
              <a:buChar char="​"/>
              <a:tabLst/>
              <a:defRPr sz="2400" b="0">
                <a:solidFill>
                  <a:srgbClr val="003555"/>
                </a:solidFill>
              </a:defRPr>
            </a:lvl1pPr>
            <a:lvl2pPr marL="19050" indent="0">
              <a:spcBef>
                <a:spcPts val="0"/>
              </a:spcBef>
              <a:buFont typeface=".AppleSystemUIFont" charset="-120"/>
              <a:buChar char="​"/>
              <a:tabLst/>
              <a:defRPr sz="2400" b="0">
                <a:solidFill>
                  <a:schemeClr val="accent1">
                    <a:lumMod val="40000"/>
                    <a:lumOff val="60000"/>
                  </a:schemeClr>
                </a:solidFill>
              </a:defRPr>
            </a:lvl2pPr>
            <a:lvl3pPr marL="19050" indent="0">
              <a:spcBef>
                <a:spcPts val="0"/>
              </a:spcBef>
              <a:buFont typeface=".AppleSystemUIFont" charset="-120"/>
              <a:buChar char="​"/>
              <a:tabLst/>
              <a:defRPr sz="2400" b="0">
                <a:solidFill>
                  <a:schemeClr val="accent1">
                    <a:lumMod val="40000"/>
                    <a:lumOff val="60000"/>
                  </a:schemeClr>
                </a:solidFill>
              </a:defRPr>
            </a:lvl3pPr>
            <a:lvl4pPr>
              <a:spcBef>
                <a:spcPts val="0"/>
              </a:spcBef>
              <a:defRPr sz="2400" b="0">
                <a:solidFill>
                  <a:schemeClr val="accent1">
                    <a:lumMod val="40000"/>
                    <a:lumOff val="60000"/>
                  </a:schemeClr>
                </a:solidFill>
              </a:defRPr>
            </a:lvl4pPr>
            <a:lvl5pPr>
              <a:spcBef>
                <a:spcPts val="0"/>
              </a:spcBef>
              <a:defRPr sz="2400" b="0">
                <a:solidFill>
                  <a:schemeClr val="accent1">
                    <a:lumMod val="40000"/>
                    <a:lumOff val="60000"/>
                  </a:schemeClr>
                </a:solidFill>
              </a:defRPr>
            </a:lvl5pPr>
            <a:lvl6pPr>
              <a:spcBef>
                <a:spcPts val="0"/>
              </a:spcBef>
              <a:spcAft>
                <a:spcPts val="600"/>
              </a:spcAft>
              <a:defRPr sz="1800">
                <a:solidFill>
                  <a:schemeClr val="accent1">
                    <a:lumMod val="40000"/>
                    <a:lumOff val="60000"/>
                  </a:schemeClr>
                </a:solidFill>
              </a:defRPr>
            </a:lvl6pPr>
            <a:lvl7pPr>
              <a:spcBef>
                <a:spcPts val="0"/>
              </a:spcBef>
              <a:spcAft>
                <a:spcPts val="600"/>
              </a:spcAft>
              <a:defRPr sz="1800">
                <a:solidFill>
                  <a:schemeClr val="accent1">
                    <a:lumMod val="40000"/>
                    <a:lumOff val="60000"/>
                  </a:schemeClr>
                </a:solidFill>
              </a:defRPr>
            </a:lvl7pPr>
            <a:lvl8pPr>
              <a:spcBef>
                <a:spcPts val="0"/>
              </a:spcBef>
              <a:spcAft>
                <a:spcPts val="600"/>
              </a:spcAft>
              <a:defRPr sz="1800">
                <a:solidFill>
                  <a:schemeClr val="accent1">
                    <a:lumMod val="40000"/>
                    <a:lumOff val="60000"/>
                  </a:schemeClr>
                </a:solidFill>
              </a:defRPr>
            </a:lvl8pPr>
            <a:lvl9pPr>
              <a:spcBef>
                <a:spcPts val="0"/>
              </a:spcBef>
              <a:spcAft>
                <a:spcPts val="600"/>
              </a:spcAft>
              <a:defRPr sz="1800">
                <a:solidFill>
                  <a:schemeClr val="accent1">
                    <a:lumMod val="40000"/>
                    <a:lumOff val="60000"/>
                  </a:schemeClr>
                </a:solidFill>
              </a:defRPr>
            </a:lvl9pPr>
          </a:lstStyle>
          <a:p>
            <a:pPr lvl="0"/>
            <a:r>
              <a:rPr lang="en-US" dirty="0"/>
              <a:t>Click to edit Master text styles</a:t>
            </a:r>
          </a:p>
        </p:txBody>
      </p:sp>
      <p:sp>
        <p:nvSpPr>
          <p:cNvPr id="72" name="Footer Placeholder 2">
            <a:extLst>
              <a:ext uri="{FF2B5EF4-FFF2-40B4-BE49-F238E27FC236}">
                <a16:creationId xmlns:a16="http://schemas.microsoft.com/office/drawing/2014/main" id="{A42FD201-0783-E54C-858E-80C352E8A8B8}"/>
              </a:ext>
            </a:extLst>
          </p:cNvPr>
          <p:cNvSpPr txBox="1">
            <a:spLocks/>
          </p:cNvSpPr>
          <p:nvPr userDrawn="1"/>
        </p:nvSpPr>
        <p:spPr>
          <a:xfrm>
            <a:off x="670969" y="6559095"/>
            <a:ext cx="289342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i="0" dirty="0">
                <a:solidFill>
                  <a:srgbClr val="FFFFFF"/>
                </a:solidFill>
                <a:latin typeface="Arial" panose="020B0604020202020204" pitchFamily="34" charset="0"/>
                <a:cs typeface="Arial" panose="020B0604020202020204" pitchFamily="34" charset="0"/>
              </a:rPr>
              <a:t>© ICE Mortgage Technology. All rights reserved. </a:t>
            </a:r>
            <a:fld id="{B3B1E8A1-168D-4243-9708-A76A30C359D9}" type="datetime1">
              <a:rPr lang="en-US" sz="900" b="0" i="0" smtClean="0">
                <a:solidFill>
                  <a:srgbClr val="FFFFFF"/>
                </a:solidFill>
                <a:latin typeface="Arial" panose="020B0604020202020204" pitchFamily="34" charset="0"/>
                <a:cs typeface="Arial" panose="020B0604020202020204" pitchFamily="34" charset="0"/>
              </a:rPr>
              <a:pPr algn="l"/>
              <a:t>8/17/2022</a:t>
            </a:fld>
            <a:endParaRPr lang="en-US" sz="900" b="0" i="0" dirty="0">
              <a:solidFill>
                <a:srgbClr val="FFFFFF"/>
              </a:solidFill>
              <a:latin typeface="Arial" panose="020B0604020202020204" pitchFamily="34" charset="0"/>
              <a:cs typeface="Arial" panose="020B0604020202020204" pitchFamily="34" charset="0"/>
            </a:endParaRPr>
          </a:p>
        </p:txBody>
      </p:sp>
      <p:pic>
        <p:nvPicPr>
          <p:cNvPr id="73" name="Picture 72" descr="A picture containing drawing&#10;&#10;Description automatically generated">
            <a:extLst>
              <a:ext uri="{FF2B5EF4-FFF2-40B4-BE49-F238E27FC236}">
                <a16:creationId xmlns:a16="http://schemas.microsoft.com/office/drawing/2014/main" id="{AD6F0643-BE2A-E94F-8B1A-D7A7117BB0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70970" y="691072"/>
            <a:ext cx="2743200" cy="871369"/>
          </a:xfrm>
          <a:prstGeom prst="rect">
            <a:avLst/>
          </a:prstGeom>
        </p:spPr>
      </p:pic>
      <p:sp>
        <p:nvSpPr>
          <p:cNvPr id="8" name="Subtitle 2">
            <a:extLst>
              <a:ext uri="{FF2B5EF4-FFF2-40B4-BE49-F238E27FC236}">
                <a16:creationId xmlns:a16="http://schemas.microsoft.com/office/drawing/2014/main" id="{75A52AC9-3EE3-C64E-9B97-7AC2AA1AC44B}"/>
              </a:ext>
            </a:extLst>
          </p:cNvPr>
          <p:cNvSpPr>
            <a:spLocks noGrp="1"/>
          </p:cNvSpPr>
          <p:nvPr>
            <p:ph type="subTitle" idx="1"/>
          </p:nvPr>
        </p:nvSpPr>
        <p:spPr>
          <a:xfrm>
            <a:off x="670969" y="4161786"/>
            <a:ext cx="5286574" cy="453462"/>
          </a:xfrm>
        </p:spPr>
        <p:txBody>
          <a:bodyPr>
            <a:normAutofit/>
          </a:bodyPr>
          <a:lstStyle>
            <a:lvl1pPr marL="0" indent="0" algn="l">
              <a:buNone/>
              <a:defRPr sz="2800">
                <a:solidFill>
                  <a:srgbClr val="00355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610354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1">
                                            <p:txEl>
                                              <p:pRg st="0" end="0"/>
                                            </p:txEl>
                                          </p:spTgt>
                                        </p:tgtEl>
                                        <p:attrNameLst>
                                          <p:attrName>style.visibility</p:attrName>
                                        </p:attrNameLst>
                                      </p:cBhvr>
                                      <p:to>
                                        <p:strVal val="visible"/>
                                      </p:to>
                                    </p:set>
                                    <p:animEffect transition="in" filter="fade">
                                      <p:cBhvr>
                                        <p:cTn id="13" dur="500"/>
                                        <p:tgtEl>
                                          <p:spTgt spid="71">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71" grpId="0" build="p">
        <p:tmplLst>
          <p:tmpl lvl="1">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Lst>
      </p:bldP>
      <p:bldP spid="8" grpId="0" build="p">
        <p:tmplLst>
          <p:tmpl lvl="1">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Big Statement Light Blu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8FB3721-5D6E-D044-85D0-EB877FDB0C4C}"/>
              </a:ext>
            </a:extLst>
          </p:cNvPr>
          <p:cNvSpPr/>
          <p:nvPr userDrawn="1"/>
        </p:nvSpPr>
        <p:spPr>
          <a:xfrm>
            <a:off x="0" y="0"/>
            <a:ext cx="12192000"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110452"/>
            <a:ext cx="10844009" cy="2852737"/>
          </a:xfrm>
        </p:spPr>
        <p:txBody>
          <a:bodyPr anchor="b">
            <a:normAutofit/>
          </a:bodyPr>
          <a:lstStyle>
            <a:lvl1pPr algn="ctr">
              <a:lnSpc>
                <a:spcPts val="4400"/>
              </a:lnSpc>
              <a:defRPr sz="4000">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472997"/>
            <a:ext cx="10844009" cy="791292"/>
          </a:xfrm>
        </p:spPr>
        <p:txBody>
          <a:bodyPr/>
          <a:lstStyle>
            <a:lvl1pPr marL="0" indent="0" algn="ctr">
              <a:lnSpc>
                <a:spcPts val="2800"/>
              </a:lnSpc>
              <a:spcBef>
                <a:spcPts val="0"/>
              </a:spcBef>
              <a:spcAft>
                <a:spcPts val="90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4" name="Straight Connector 13">
            <a:extLst>
              <a:ext uri="{FF2B5EF4-FFF2-40B4-BE49-F238E27FC236}">
                <a16:creationId xmlns:a16="http://schemas.microsoft.com/office/drawing/2014/main" id="{9758FBB0-1CB8-4647-8216-3B2DDEF43196}"/>
              </a:ext>
            </a:extLst>
          </p:cNvPr>
          <p:cNvCxnSpPr>
            <a:cxnSpLocks/>
          </p:cNvCxnSpPr>
          <p:nvPr userDrawn="1"/>
        </p:nvCxnSpPr>
        <p:spPr>
          <a:xfrm>
            <a:off x="5498873" y="4250540"/>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B2168D8-022B-4346-B4A2-9040A6291167}"/>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Footer Placeholder 2">
            <a:extLst>
              <a:ext uri="{FF2B5EF4-FFF2-40B4-BE49-F238E27FC236}">
                <a16:creationId xmlns:a16="http://schemas.microsoft.com/office/drawing/2014/main" id="{246F36C7-0193-4948-AF91-C51D6A8484B0}"/>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19" name="Picture 18">
            <a:extLst>
              <a:ext uri="{FF2B5EF4-FFF2-40B4-BE49-F238E27FC236}">
                <a16:creationId xmlns:a16="http://schemas.microsoft.com/office/drawing/2014/main" id="{3B6B905B-A1A5-8945-82D5-DBEC435EAEA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2405517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Big Statement G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94C3070-73A6-7A4B-AF92-D13658B86453}"/>
              </a:ext>
            </a:extLst>
          </p:cNvPr>
          <p:cNvSpPr/>
          <p:nvPr userDrawn="1"/>
        </p:nvSpPr>
        <p:spPr>
          <a:xfrm>
            <a:off x="0" y="0"/>
            <a:ext cx="12192000" cy="6858000"/>
          </a:xfrm>
          <a:prstGeom prst="rect">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110452"/>
            <a:ext cx="10844009" cy="2852737"/>
          </a:xfrm>
        </p:spPr>
        <p:txBody>
          <a:bodyPr anchor="b">
            <a:normAutofit/>
          </a:bodyPr>
          <a:lstStyle>
            <a:lvl1pPr algn="ctr">
              <a:lnSpc>
                <a:spcPts val="4400"/>
              </a:lnSpc>
              <a:defRPr sz="4000">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472997"/>
            <a:ext cx="10844009" cy="791292"/>
          </a:xfrm>
        </p:spPr>
        <p:txBody>
          <a:bodyPr/>
          <a:lstStyle>
            <a:lvl1pPr marL="0" indent="0" algn="ctr">
              <a:lnSpc>
                <a:spcPts val="2800"/>
              </a:lnSpc>
              <a:spcBef>
                <a:spcPts val="0"/>
              </a:spcBef>
              <a:spcAft>
                <a:spcPts val="90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4" name="Straight Connector 13">
            <a:extLst>
              <a:ext uri="{FF2B5EF4-FFF2-40B4-BE49-F238E27FC236}">
                <a16:creationId xmlns:a16="http://schemas.microsoft.com/office/drawing/2014/main" id="{9758FBB0-1CB8-4647-8216-3B2DDEF43196}"/>
              </a:ext>
            </a:extLst>
          </p:cNvPr>
          <p:cNvCxnSpPr>
            <a:cxnSpLocks/>
          </p:cNvCxnSpPr>
          <p:nvPr userDrawn="1"/>
        </p:nvCxnSpPr>
        <p:spPr>
          <a:xfrm>
            <a:off x="5498873" y="4250540"/>
            <a:ext cx="1194254" cy="0"/>
          </a:xfrm>
          <a:prstGeom prst="line">
            <a:avLst/>
          </a:prstGeom>
          <a:ln w="31750">
            <a:solidFill>
              <a:srgbClr val="8AE7F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C4199F-F6AD-4445-8520-CE3CE1B478AE}"/>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Footer Placeholder 2">
            <a:extLst>
              <a:ext uri="{FF2B5EF4-FFF2-40B4-BE49-F238E27FC236}">
                <a16:creationId xmlns:a16="http://schemas.microsoft.com/office/drawing/2014/main" id="{F5B8A498-0021-464C-A8D2-60203888B9E6}"/>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23" name="Picture 22">
            <a:extLst>
              <a:ext uri="{FF2B5EF4-FFF2-40B4-BE49-F238E27FC236}">
                <a16:creationId xmlns:a16="http://schemas.microsoft.com/office/drawing/2014/main" id="{080D4E30-62A3-394F-A621-9D0522674EB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76961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Big Statement Illustra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6C65829-170C-45CE-9F38-07863FD76D40}"/>
              </a:ext>
            </a:extLst>
          </p:cNvPr>
          <p:cNvSpPr>
            <a:spLocks noGrp="1"/>
          </p:cNvSpPr>
          <p:nvPr>
            <p:ph type="sldNum" sz="quarter" idx="12"/>
          </p:nvPr>
        </p:nvSpPr>
        <p:spPr/>
        <p:txBody>
          <a:bodyPr/>
          <a:lstStyle>
            <a:lvl1pPr>
              <a:defRPr>
                <a:solidFill>
                  <a:schemeClr val="tx1"/>
                </a:solidFill>
              </a:defRPr>
            </a:lvl1pPr>
          </a:lstStyle>
          <a:p>
            <a:fld id="{8A6D9EF2-1078-4CF1-AE32-B8E5CFC7CD9F}" type="slidenum">
              <a:rPr lang="en-US" smtClean="0"/>
              <a:pPr/>
              <a:t>‹#›</a:t>
            </a:fld>
            <a:endParaRPr lang="en-US" dirty="0"/>
          </a:p>
        </p:txBody>
      </p:sp>
      <p:sp>
        <p:nvSpPr>
          <p:cNvPr id="2" name="Title 1">
            <a:extLst>
              <a:ext uri="{FF2B5EF4-FFF2-40B4-BE49-F238E27FC236}">
                <a16:creationId xmlns:a16="http://schemas.microsoft.com/office/drawing/2014/main" id="{1794FB7E-4D84-4795-B8D7-5DE83065F86E}"/>
              </a:ext>
            </a:extLst>
          </p:cNvPr>
          <p:cNvSpPr>
            <a:spLocks noGrp="1"/>
          </p:cNvSpPr>
          <p:nvPr>
            <p:ph type="title"/>
          </p:nvPr>
        </p:nvSpPr>
        <p:spPr>
          <a:xfrm>
            <a:off x="677022" y="1110452"/>
            <a:ext cx="10844009" cy="2852737"/>
          </a:xfrm>
        </p:spPr>
        <p:txBody>
          <a:bodyPr anchor="b">
            <a:normAutofit/>
          </a:bodyPr>
          <a:lstStyle>
            <a:lvl1pPr algn="ctr">
              <a:lnSpc>
                <a:spcPts val="4400"/>
              </a:lnSpc>
              <a:defRPr sz="4000">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3D60FC3-24C5-42AB-858D-24F431D7C708}"/>
              </a:ext>
            </a:extLst>
          </p:cNvPr>
          <p:cNvSpPr>
            <a:spLocks noGrp="1"/>
          </p:cNvSpPr>
          <p:nvPr>
            <p:ph type="body" idx="1"/>
          </p:nvPr>
        </p:nvSpPr>
        <p:spPr>
          <a:xfrm>
            <a:off x="677022" y="4472997"/>
            <a:ext cx="10844009" cy="791292"/>
          </a:xfrm>
        </p:spPr>
        <p:txBody>
          <a:bodyPr/>
          <a:lstStyle>
            <a:lvl1pPr marL="0" indent="0" algn="ctr">
              <a:lnSpc>
                <a:spcPts val="2800"/>
              </a:lnSpc>
              <a:spcBef>
                <a:spcPts val="0"/>
              </a:spcBef>
              <a:spcAft>
                <a:spcPts val="90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4" name="Straight Connector 13">
            <a:extLst>
              <a:ext uri="{FF2B5EF4-FFF2-40B4-BE49-F238E27FC236}">
                <a16:creationId xmlns:a16="http://schemas.microsoft.com/office/drawing/2014/main" id="{9758FBB0-1CB8-4647-8216-3B2DDEF43196}"/>
              </a:ext>
            </a:extLst>
          </p:cNvPr>
          <p:cNvCxnSpPr>
            <a:cxnSpLocks/>
          </p:cNvCxnSpPr>
          <p:nvPr userDrawn="1"/>
        </p:nvCxnSpPr>
        <p:spPr>
          <a:xfrm>
            <a:off x="5498873" y="4250540"/>
            <a:ext cx="1194254" cy="0"/>
          </a:xfrm>
          <a:prstGeom prst="line">
            <a:avLst/>
          </a:prstGeom>
          <a:ln w="317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D1EA793-D073-4818-9215-40F6066421DB}"/>
              </a:ext>
            </a:extLst>
          </p:cNvPr>
          <p:cNvCxnSpPr/>
          <p:nvPr userDrawn="1"/>
        </p:nvCxnSpPr>
        <p:spPr>
          <a:xfrm>
            <a:off x="11179926" y="6542036"/>
            <a:ext cx="0" cy="174157"/>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Footer Placeholder 2">
            <a:extLst>
              <a:ext uri="{FF2B5EF4-FFF2-40B4-BE49-F238E27FC236}">
                <a16:creationId xmlns:a16="http://schemas.microsoft.com/office/drawing/2014/main" id="{E6873853-268E-7449-A1EB-AC36E3013623}"/>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tx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tx1"/>
                </a:solidFill>
                <a:latin typeface="Arial" panose="020B0604020202020204" pitchFamily="34" charset="0"/>
                <a:cs typeface="Arial" panose="020B0604020202020204" pitchFamily="34" charset="0"/>
              </a:rPr>
              <a:pPr algn="r"/>
              <a:t>8/17/2022</a:t>
            </a:fld>
            <a:r>
              <a:rPr lang="en-US" sz="900" b="0" i="0" dirty="0">
                <a:solidFill>
                  <a:schemeClr val="tx1"/>
                </a:solidFill>
                <a:latin typeface="Arial" panose="020B0604020202020204" pitchFamily="34" charset="0"/>
                <a:cs typeface="Arial" panose="020B0604020202020204" pitchFamily="34" charset="0"/>
              </a:rPr>
              <a:t> </a:t>
            </a:r>
          </a:p>
        </p:txBody>
      </p:sp>
      <p:pic>
        <p:nvPicPr>
          <p:cNvPr id="23" name="Picture 22">
            <a:extLst>
              <a:ext uri="{FF2B5EF4-FFF2-40B4-BE49-F238E27FC236}">
                <a16:creationId xmlns:a16="http://schemas.microsoft.com/office/drawing/2014/main" id="{92A609F1-088C-2740-81CF-A234BF95F91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57295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BE8893-159E-4F2C-8F00-EA7B21A7DBD6}"/>
              </a:ext>
            </a:extLst>
          </p:cNvPr>
          <p:cNvSpPr>
            <a:spLocks noGrp="1"/>
          </p:cNvSpPr>
          <p:nvPr>
            <p:ph idx="1"/>
          </p:nvPr>
        </p:nvSpPr>
        <p:spPr>
          <a:xfrm>
            <a:off x="670969" y="1686841"/>
            <a:ext cx="10850063" cy="4506645"/>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5" name="Footer Placeholder 4">
            <a:extLst>
              <a:ext uri="{FF2B5EF4-FFF2-40B4-BE49-F238E27FC236}">
                <a16:creationId xmlns:a16="http://schemas.microsoft.com/office/drawing/2014/main" id="{BAA4A97C-A963-473D-BEDB-A4BCBEF54C9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E99AE4-B295-4E1B-8259-FB84F048B2A0}"/>
              </a:ext>
            </a:extLst>
          </p:cNvPr>
          <p:cNvSpPr>
            <a:spLocks noGrp="1"/>
          </p:cNvSpPr>
          <p:nvPr>
            <p:ph type="sldNum" sz="quarter" idx="12"/>
          </p:nvPr>
        </p:nvSpPr>
        <p:spPr/>
        <p:txBody>
          <a:bodyPr/>
          <a:lstStyle/>
          <a:p>
            <a:fld id="{8A6D9EF2-1078-4CF1-AE32-B8E5CFC7CD9F}" type="slidenum">
              <a:rPr lang="en-US" smtClean="0"/>
              <a:pPr/>
              <a:t>‹#›</a:t>
            </a:fld>
            <a:endParaRPr lang="en-US" dirty="0"/>
          </a:p>
        </p:txBody>
      </p:sp>
      <p:grpSp>
        <p:nvGrpSpPr>
          <p:cNvPr id="10" name="Group 9">
            <a:extLst>
              <a:ext uri="{FF2B5EF4-FFF2-40B4-BE49-F238E27FC236}">
                <a16:creationId xmlns:a16="http://schemas.microsoft.com/office/drawing/2014/main" id="{8CF91731-7857-4708-870F-B33D6CF94035}"/>
              </a:ext>
            </a:extLst>
          </p:cNvPr>
          <p:cNvGrpSpPr/>
          <p:nvPr userDrawn="1"/>
        </p:nvGrpSpPr>
        <p:grpSpPr>
          <a:xfrm>
            <a:off x="685800" y="1315601"/>
            <a:ext cx="10820400" cy="180189"/>
            <a:chOff x="685800" y="1230120"/>
            <a:chExt cx="10820400" cy="180189"/>
          </a:xfrm>
        </p:grpSpPr>
        <p:pic>
          <p:nvPicPr>
            <p:cNvPr id="11" name="Picture 10">
              <a:extLst>
                <a:ext uri="{FF2B5EF4-FFF2-40B4-BE49-F238E27FC236}">
                  <a16:creationId xmlns:a16="http://schemas.microsoft.com/office/drawing/2014/main" id="{79E88707-4B88-4B30-9748-E7ECF69602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2" name="Straight Connector 11">
              <a:extLst>
                <a:ext uri="{FF2B5EF4-FFF2-40B4-BE49-F238E27FC236}">
                  <a16:creationId xmlns:a16="http://schemas.microsoft.com/office/drawing/2014/main" id="{58521953-B8D0-45EB-8017-ABD4303F9FAB}"/>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3" name="Title 12">
            <a:extLst>
              <a:ext uri="{FF2B5EF4-FFF2-40B4-BE49-F238E27FC236}">
                <a16:creationId xmlns:a16="http://schemas.microsoft.com/office/drawing/2014/main" id="{0FD3D568-5372-4459-AFA8-8CB404515EBD}"/>
              </a:ext>
            </a:extLst>
          </p:cNvPr>
          <p:cNvSpPr>
            <a:spLocks noGrp="1"/>
          </p:cNvSpPr>
          <p:nvPr>
            <p:ph type="title"/>
          </p:nvPr>
        </p:nvSpPr>
        <p:spPr/>
        <p:txBody>
          <a:bodyPr/>
          <a:lstStyle/>
          <a:p>
            <a:r>
              <a:rPr lang="en-US" dirty="0"/>
              <a:t>Click to edit Master title style</a:t>
            </a:r>
          </a:p>
        </p:txBody>
      </p:sp>
      <p:sp>
        <p:nvSpPr>
          <p:cNvPr id="14" name="Rectangle 13"/>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008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BA4BCA0F-F2D0-F748-A4ED-83C5E02B2577}"/>
              </a:ext>
            </a:extLst>
          </p:cNvPr>
          <p:cNvSpPr>
            <a:spLocks noGrp="1"/>
          </p:cNvSpPr>
          <p:nvPr>
            <p:ph idx="14"/>
          </p:nvPr>
        </p:nvSpPr>
        <p:spPr>
          <a:xfrm>
            <a:off x="670968" y="1915075"/>
            <a:ext cx="10850063" cy="4250889"/>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5" name="Footer Placeholder 4">
            <a:extLst>
              <a:ext uri="{FF2B5EF4-FFF2-40B4-BE49-F238E27FC236}">
                <a16:creationId xmlns:a16="http://schemas.microsoft.com/office/drawing/2014/main" id="{BAA4A97C-A963-473D-BEDB-A4BCBEF54C9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E99AE4-B295-4E1B-8259-FB84F048B2A0}"/>
              </a:ext>
            </a:extLst>
          </p:cNvPr>
          <p:cNvSpPr>
            <a:spLocks noGrp="1"/>
          </p:cNvSpPr>
          <p:nvPr>
            <p:ph type="sldNum" sz="quarter" idx="12"/>
          </p:nvPr>
        </p:nvSpPr>
        <p:spPr/>
        <p:txBody>
          <a:bodyPr/>
          <a:lstStyle/>
          <a:p>
            <a:fld id="{8A6D9EF2-1078-4CF1-AE32-B8E5CFC7CD9F}" type="slidenum">
              <a:rPr lang="en-US" smtClean="0"/>
              <a:pPr/>
              <a:t>‹#›</a:t>
            </a:fld>
            <a:endParaRPr lang="en-US" dirty="0"/>
          </a:p>
        </p:txBody>
      </p:sp>
      <p:sp>
        <p:nvSpPr>
          <p:cNvPr id="8" name="Subtitle 2">
            <a:extLst>
              <a:ext uri="{FF2B5EF4-FFF2-40B4-BE49-F238E27FC236}">
                <a16:creationId xmlns:a16="http://schemas.microsoft.com/office/drawing/2014/main" id="{E2F2D2DB-5A80-451E-82AF-836E80969283}"/>
              </a:ext>
            </a:extLst>
          </p:cNvPr>
          <p:cNvSpPr>
            <a:spLocks noGrp="1"/>
          </p:cNvSpPr>
          <p:nvPr>
            <p:ph type="subTitle" idx="13"/>
          </p:nvPr>
        </p:nvSpPr>
        <p:spPr>
          <a:xfrm>
            <a:off x="670969" y="1200219"/>
            <a:ext cx="10850064" cy="331451"/>
          </a:xfrm>
        </p:spPr>
        <p:txBody>
          <a:bodyPr lIns="0" tIns="0" rIns="0" bIns="0">
            <a:normAutofit/>
          </a:bodyPr>
          <a:lstStyle>
            <a:lvl1pPr marL="0" indent="0" algn="l">
              <a:buNone/>
              <a:defRPr sz="2000" spc="8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10" name="Group 9">
            <a:extLst>
              <a:ext uri="{FF2B5EF4-FFF2-40B4-BE49-F238E27FC236}">
                <a16:creationId xmlns:a16="http://schemas.microsoft.com/office/drawing/2014/main" id="{8CF91731-7857-4708-870F-B33D6CF94035}"/>
              </a:ext>
            </a:extLst>
          </p:cNvPr>
          <p:cNvGrpSpPr/>
          <p:nvPr userDrawn="1"/>
        </p:nvGrpSpPr>
        <p:grpSpPr>
          <a:xfrm>
            <a:off x="685800" y="1601520"/>
            <a:ext cx="10820400" cy="180189"/>
            <a:chOff x="685800" y="1230120"/>
            <a:chExt cx="10820400" cy="180189"/>
          </a:xfrm>
        </p:grpSpPr>
        <p:pic>
          <p:nvPicPr>
            <p:cNvPr id="11" name="Picture 10">
              <a:extLst>
                <a:ext uri="{FF2B5EF4-FFF2-40B4-BE49-F238E27FC236}">
                  <a16:creationId xmlns:a16="http://schemas.microsoft.com/office/drawing/2014/main" id="{79E88707-4B88-4B30-9748-E7ECF69602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2" name="Straight Connector 11">
              <a:extLst>
                <a:ext uri="{FF2B5EF4-FFF2-40B4-BE49-F238E27FC236}">
                  <a16:creationId xmlns:a16="http://schemas.microsoft.com/office/drawing/2014/main" id="{58521953-B8D0-45EB-8017-ABD4303F9FAB}"/>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3" name="Title 12">
            <a:extLst>
              <a:ext uri="{FF2B5EF4-FFF2-40B4-BE49-F238E27FC236}">
                <a16:creationId xmlns:a16="http://schemas.microsoft.com/office/drawing/2014/main" id="{0FD3D568-5372-4459-AFA8-8CB404515EBD}"/>
              </a:ext>
            </a:extLst>
          </p:cNvPr>
          <p:cNvSpPr>
            <a:spLocks noGrp="1"/>
          </p:cNvSpPr>
          <p:nvPr>
            <p:ph type="title"/>
          </p:nvPr>
        </p:nvSpPr>
        <p:spPr/>
        <p:txBody>
          <a:bodyPr/>
          <a:lstStyle/>
          <a:p>
            <a:r>
              <a:rPr lang="en-US" dirty="0"/>
              <a:t>Click to edit Master title style</a:t>
            </a:r>
          </a:p>
        </p:txBody>
      </p:sp>
      <p:sp>
        <p:nvSpPr>
          <p:cNvPr id="16" name="Rectangle 15">
            <a:extLst>
              <a:ext uri="{FF2B5EF4-FFF2-40B4-BE49-F238E27FC236}">
                <a16:creationId xmlns:a16="http://schemas.microsoft.com/office/drawing/2014/main" id="{2E60759F-FDAD-0A4D-9777-F3F018031369}"/>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8519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40A8DC6B-EAE5-6542-9173-2FA34FBE3310}"/>
              </a:ext>
            </a:extLst>
          </p:cNvPr>
          <p:cNvSpPr>
            <a:spLocks noGrp="1"/>
          </p:cNvSpPr>
          <p:nvPr>
            <p:ph idx="15"/>
          </p:nvPr>
        </p:nvSpPr>
        <p:spPr>
          <a:xfrm>
            <a:off x="6191236" y="1686841"/>
            <a:ext cx="5331245" cy="4506645"/>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3" name="Content Placeholder 2">
            <a:extLst>
              <a:ext uri="{FF2B5EF4-FFF2-40B4-BE49-F238E27FC236}">
                <a16:creationId xmlns:a16="http://schemas.microsoft.com/office/drawing/2014/main" id="{3CC47CF7-4ABE-9343-B8DC-B1E527DFD551}"/>
              </a:ext>
            </a:extLst>
          </p:cNvPr>
          <p:cNvSpPr>
            <a:spLocks noGrp="1"/>
          </p:cNvSpPr>
          <p:nvPr>
            <p:ph idx="1"/>
          </p:nvPr>
        </p:nvSpPr>
        <p:spPr>
          <a:xfrm>
            <a:off x="670969" y="1686841"/>
            <a:ext cx="5331245" cy="4506645"/>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grpSp>
        <p:nvGrpSpPr>
          <p:cNvPr id="66" name="Group 65">
            <a:extLst>
              <a:ext uri="{FF2B5EF4-FFF2-40B4-BE49-F238E27FC236}">
                <a16:creationId xmlns:a16="http://schemas.microsoft.com/office/drawing/2014/main" id="{FBDEFEAF-414A-4585-93C5-6E33251AF9C6}"/>
              </a:ext>
            </a:extLst>
          </p:cNvPr>
          <p:cNvGrpSpPr/>
          <p:nvPr userDrawn="1"/>
        </p:nvGrpSpPr>
        <p:grpSpPr>
          <a:xfrm>
            <a:off x="685800" y="1315601"/>
            <a:ext cx="10820400" cy="180189"/>
            <a:chOff x="685800" y="1230120"/>
            <a:chExt cx="10820400" cy="180189"/>
          </a:xfrm>
        </p:grpSpPr>
        <p:pic>
          <p:nvPicPr>
            <p:cNvPr id="67" name="Picture 66">
              <a:extLst>
                <a:ext uri="{FF2B5EF4-FFF2-40B4-BE49-F238E27FC236}">
                  <a16:creationId xmlns:a16="http://schemas.microsoft.com/office/drawing/2014/main" id="{03E94F90-19D6-4267-B2DA-E14A5E0E7F0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68" name="Straight Connector 67">
              <a:extLst>
                <a:ext uri="{FF2B5EF4-FFF2-40B4-BE49-F238E27FC236}">
                  <a16:creationId xmlns:a16="http://schemas.microsoft.com/office/drawing/2014/main" id="{5BC0360C-6179-451D-BF3A-21BF22B2A76C}"/>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5CF704F1-3A31-4CB0-B424-E19EEBAA6701}"/>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DB18F8F1-9636-44A9-9B23-1F25160B39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p>
            <a:fld id="{8A6D9EF2-1078-4CF1-AE32-B8E5CFC7CD9F}" type="slidenum">
              <a:rPr lang="en-US" smtClean="0"/>
              <a:pPr/>
              <a:t>‹#›</a:t>
            </a:fld>
            <a:endParaRPr lang="en-US" dirty="0"/>
          </a:p>
        </p:txBody>
      </p:sp>
      <p:sp>
        <p:nvSpPr>
          <p:cNvPr id="11" name="Rectangle 10">
            <a:extLst>
              <a:ext uri="{FF2B5EF4-FFF2-40B4-BE49-F238E27FC236}">
                <a16:creationId xmlns:a16="http://schemas.microsoft.com/office/drawing/2014/main" id="{7C5DDD34-CA94-2B4E-90E1-7C93B7CD25C4}"/>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1200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13893D4E-F23A-F647-BAD3-08B7122E51E7}"/>
              </a:ext>
            </a:extLst>
          </p:cNvPr>
          <p:cNvSpPr>
            <a:spLocks noGrp="1"/>
          </p:cNvSpPr>
          <p:nvPr>
            <p:ph idx="16"/>
          </p:nvPr>
        </p:nvSpPr>
        <p:spPr>
          <a:xfrm>
            <a:off x="6191236" y="1923333"/>
            <a:ext cx="5331245" cy="4312232"/>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7" name="Content Placeholder 2">
            <a:extLst>
              <a:ext uri="{FF2B5EF4-FFF2-40B4-BE49-F238E27FC236}">
                <a16:creationId xmlns:a16="http://schemas.microsoft.com/office/drawing/2014/main" id="{19E1BAC6-004E-6E44-BDCC-96BE8D62F4FE}"/>
              </a:ext>
            </a:extLst>
          </p:cNvPr>
          <p:cNvSpPr>
            <a:spLocks noGrp="1"/>
          </p:cNvSpPr>
          <p:nvPr>
            <p:ph idx="1"/>
          </p:nvPr>
        </p:nvSpPr>
        <p:spPr>
          <a:xfrm>
            <a:off x="670969" y="1923333"/>
            <a:ext cx="5331245" cy="4312232"/>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2" name="Title 1">
            <a:extLst>
              <a:ext uri="{FF2B5EF4-FFF2-40B4-BE49-F238E27FC236}">
                <a16:creationId xmlns:a16="http://schemas.microsoft.com/office/drawing/2014/main" id="{5CF704F1-3A31-4CB0-B424-E19EEBAA6701}"/>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DB18F8F1-9636-44A9-9B23-1F25160B39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p>
            <a:fld id="{8A6D9EF2-1078-4CF1-AE32-B8E5CFC7CD9F}" type="slidenum">
              <a:rPr lang="en-US" smtClean="0"/>
              <a:pPr/>
              <a:t>‹#›</a:t>
            </a:fld>
            <a:endParaRPr lang="en-US" dirty="0"/>
          </a:p>
        </p:txBody>
      </p:sp>
      <p:grpSp>
        <p:nvGrpSpPr>
          <p:cNvPr id="9" name="Group 8">
            <a:extLst>
              <a:ext uri="{FF2B5EF4-FFF2-40B4-BE49-F238E27FC236}">
                <a16:creationId xmlns:a16="http://schemas.microsoft.com/office/drawing/2014/main" id="{6EEF25E6-7794-4099-852A-FAFE0DED6006}"/>
              </a:ext>
            </a:extLst>
          </p:cNvPr>
          <p:cNvGrpSpPr/>
          <p:nvPr userDrawn="1"/>
        </p:nvGrpSpPr>
        <p:grpSpPr>
          <a:xfrm>
            <a:off x="685800" y="1601520"/>
            <a:ext cx="10820400" cy="180189"/>
            <a:chOff x="685800" y="1230120"/>
            <a:chExt cx="10820400" cy="180189"/>
          </a:xfrm>
        </p:grpSpPr>
        <p:pic>
          <p:nvPicPr>
            <p:cNvPr id="10" name="Picture 9">
              <a:extLst>
                <a:ext uri="{FF2B5EF4-FFF2-40B4-BE49-F238E27FC236}">
                  <a16:creationId xmlns:a16="http://schemas.microsoft.com/office/drawing/2014/main" id="{4E4300EB-1F29-4DBF-9FE6-CE568DDB7E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1" name="Straight Connector 10">
              <a:extLst>
                <a:ext uri="{FF2B5EF4-FFF2-40B4-BE49-F238E27FC236}">
                  <a16:creationId xmlns:a16="http://schemas.microsoft.com/office/drawing/2014/main" id="{9D5B3C8A-947A-4C94-BBAF-7C0CBEFE9524}"/>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2" name="Subtitle 2">
            <a:extLst>
              <a:ext uri="{FF2B5EF4-FFF2-40B4-BE49-F238E27FC236}">
                <a16:creationId xmlns:a16="http://schemas.microsoft.com/office/drawing/2014/main" id="{BD11FB02-C0B2-4BD4-BE01-7BEE43AB3928}"/>
              </a:ext>
            </a:extLst>
          </p:cNvPr>
          <p:cNvSpPr>
            <a:spLocks noGrp="1"/>
          </p:cNvSpPr>
          <p:nvPr>
            <p:ph type="subTitle" idx="13"/>
          </p:nvPr>
        </p:nvSpPr>
        <p:spPr>
          <a:xfrm>
            <a:off x="670969" y="1200219"/>
            <a:ext cx="10850064" cy="331451"/>
          </a:xfrm>
        </p:spPr>
        <p:txBody>
          <a:bodyPr lIns="0" tIns="0" rIns="0" bIns="0">
            <a:normAutofit/>
          </a:bodyPr>
          <a:lstStyle>
            <a:lvl1pPr marL="0" indent="0" algn="l">
              <a:buNone/>
              <a:defRPr sz="2000" spc="8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4" name="Rectangle 13">
            <a:extLst>
              <a:ext uri="{FF2B5EF4-FFF2-40B4-BE49-F238E27FC236}">
                <a16:creationId xmlns:a16="http://schemas.microsoft.com/office/drawing/2014/main" id="{4746BE60-199F-7B43-A258-D1A00CB31F54}"/>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996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CE176CD9-FE52-3C40-A6D4-6F953C43362F}"/>
              </a:ext>
            </a:extLst>
          </p:cNvPr>
          <p:cNvSpPr>
            <a:spLocks noGrp="1"/>
          </p:cNvSpPr>
          <p:nvPr>
            <p:ph idx="21"/>
          </p:nvPr>
        </p:nvSpPr>
        <p:spPr>
          <a:xfrm>
            <a:off x="8106629" y="1688812"/>
            <a:ext cx="3415861" cy="4504675"/>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4" name="Content Placeholder 2">
            <a:extLst>
              <a:ext uri="{FF2B5EF4-FFF2-40B4-BE49-F238E27FC236}">
                <a16:creationId xmlns:a16="http://schemas.microsoft.com/office/drawing/2014/main" id="{71AA725B-0FED-BE49-92FF-17B9D0D36B39}"/>
              </a:ext>
            </a:extLst>
          </p:cNvPr>
          <p:cNvSpPr>
            <a:spLocks noGrp="1"/>
          </p:cNvSpPr>
          <p:nvPr>
            <p:ph idx="20"/>
          </p:nvPr>
        </p:nvSpPr>
        <p:spPr>
          <a:xfrm>
            <a:off x="4388069" y="1688812"/>
            <a:ext cx="3415861" cy="4504675"/>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2" name="Content Placeholder 2">
            <a:extLst>
              <a:ext uri="{FF2B5EF4-FFF2-40B4-BE49-F238E27FC236}">
                <a16:creationId xmlns:a16="http://schemas.microsoft.com/office/drawing/2014/main" id="{BDDF26B5-518C-544B-BFF4-7E7340387B86}"/>
              </a:ext>
            </a:extLst>
          </p:cNvPr>
          <p:cNvSpPr>
            <a:spLocks noGrp="1"/>
          </p:cNvSpPr>
          <p:nvPr>
            <p:ph idx="1"/>
          </p:nvPr>
        </p:nvSpPr>
        <p:spPr>
          <a:xfrm>
            <a:off x="670969" y="1688812"/>
            <a:ext cx="3415861" cy="4504675"/>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0" name="Title 9"/>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8A6D9EF2-1078-4CF1-AE32-B8E5CFC7CD9F}" type="slidenum">
              <a:rPr lang="en-US" smtClean="0"/>
              <a:pPr/>
              <a:t>‹#›</a:t>
            </a:fld>
            <a:endParaRPr lang="en-US" dirty="0"/>
          </a:p>
        </p:txBody>
      </p:sp>
      <p:grpSp>
        <p:nvGrpSpPr>
          <p:cNvPr id="69" name="Group 68">
            <a:extLst>
              <a:ext uri="{FF2B5EF4-FFF2-40B4-BE49-F238E27FC236}">
                <a16:creationId xmlns:a16="http://schemas.microsoft.com/office/drawing/2014/main" id="{A89EA06D-49AF-4D2A-84C1-1BEA0EC791FA}"/>
              </a:ext>
            </a:extLst>
          </p:cNvPr>
          <p:cNvGrpSpPr/>
          <p:nvPr userDrawn="1"/>
        </p:nvGrpSpPr>
        <p:grpSpPr>
          <a:xfrm>
            <a:off x="685800" y="1315601"/>
            <a:ext cx="10820400" cy="180189"/>
            <a:chOff x="685800" y="1230120"/>
            <a:chExt cx="10820400" cy="180189"/>
          </a:xfrm>
        </p:grpSpPr>
        <p:pic>
          <p:nvPicPr>
            <p:cNvPr id="70" name="Picture 69">
              <a:extLst>
                <a:ext uri="{FF2B5EF4-FFF2-40B4-BE49-F238E27FC236}">
                  <a16:creationId xmlns:a16="http://schemas.microsoft.com/office/drawing/2014/main" id="{43E59F7A-8241-4AFF-950B-882E22F1DAB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71" name="Straight Connector 70">
              <a:extLst>
                <a:ext uri="{FF2B5EF4-FFF2-40B4-BE49-F238E27FC236}">
                  <a16:creationId xmlns:a16="http://schemas.microsoft.com/office/drawing/2014/main" id="{76436F4F-14CF-4AD2-802F-135E3595AE18}"/>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BC7B5945-E904-4841-8389-F32DC80C4349}"/>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560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708E37C9-EAAF-794D-82DF-D032CF376CB8}"/>
              </a:ext>
            </a:extLst>
          </p:cNvPr>
          <p:cNvSpPr>
            <a:spLocks noGrp="1"/>
          </p:cNvSpPr>
          <p:nvPr>
            <p:ph idx="21"/>
          </p:nvPr>
        </p:nvSpPr>
        <p:spPr>
          <a:xfrm>
            <a:off x="8106629" y="1947800"/>
            <a:ext cx="3415861" cy="4241333"/>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7" name="Content Placeholder 2">
            <a:extLst>
              <a:ext uri="{FF2B5EF4-FFF2-40B4-BE49-F238E27FC236}">
                <a16:creationId xmlns:a16="http://schemas.microsoft.com/office/drawing/2014/main" id="{A168F130-4897-814F-BC45-1EB082290DA8}"/>
              </a:ext>
            </a:extLst>
          </p:cNvPr>
          <p:cNvSpPr>
            <a:spLocks noGrp="1"/>
          </p:cNvSpPr>
          <p:nvPr>
            <p:ph idx="20"/>
          </p:nvPr>
        </p:nvSpPr>
        <p:spPr>
          <a:xfrm>
            <a:off x="4388069" y="1947800"/>
            <a:ext cx="3415861" cy="4241333"/>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8" name="Content Placeholder 2">
            <a:extLst>
              <a:ext uri="{FF2B5EF4-FFF2-40B4-BE49-F238E27FC236}">
                <a16:creationId xmlns:a16="http://schemas.microsoft.com/office/drawing/2014/main" id="{B22C0B06-B483-6940-87DC-419DB8FBA582}"/>
              </a:ext>
            </a:extLst>
          </p:cNvPr>
          <p:cNvSpPr>
            <a:spLocks noGrp="1"/>
          </p:cNvSpPr>
          <p:nvPr>
            <p:ph idx="1"/>
          </p:nvPr>
        </p:nvSpPr>
        <p:spPr>
          <a:xfrm>
            <a:off x="670969" y="1947800"/>
            <a:ext cx="3415861" cy="4241333"/>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0" name="Title 9"/>
          <p:cNvSpPr>
            <a:spLocks noGrp="1"/>
          </p:cNvSpPr>
          <p:nvPr>
            <p:ph type="title"/>
          </p:nvPr>
        </p:nvSpPr>
        <p:spPr/>
        <p:txBody>
          <a:bodyPr/>
          <a:lstStyle/>
          <a:p>
            <a:r>
              <a:rPr lang="en-US"/>
              <a:t>Click to edit Master title style</a:t>
            </a:r>
          </a:p>
        </p:txBody>
      </p:sp>
      <p:grpSp>
        <p:nvGrpSpPr>
          <p:cNvPr id="8" name="Group 7">
            <a:extLst>
              <a:ext uri="{FF2B5EF4-FFF2-40B4-BE49-F238E27FC236}">
                <a16:creationId xmlns:a16="http://schemas.microsoft.com/office/drawing/2014/main" id="{6EEF25E6-7794-4099-852A-FAFE0DED6006}"/>
              </a:ext>
            </a:extLst>
          </p:cNvPr>
          <p:cNvGrpSpPr/>
          <p:nvPr userDrawn="1"/>
        </p:nvGrpSpPr>
        <p:grpSpPr>
          <a:xfrm>
            <a:off x="685800" y="1601520"/>
            <a:ext cx="10820400" cy="180189"/>
            <a:chOff x="685800" y="1230120"/>
            <a:chExt cx="10820400" cy="180189"/>
          </a:xfrm>
        </p:grpSpPr>
        <p:pic>
          <p:nvPicPr>
            <p:cNvPr id="9" name="Picture 8">
              <a:extLst>
                <a:ext uri="{FF2B5EF4-FFF2-40B4-BE49-F238E27FC236}">
                  <a16:creationId xmlns:a16="http://schemas.microsoft.com/office/drawing/2014/main" id="{4E4300EB-1F29-4DBF-9FE6-CE568DDB7E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1" name="Straight Connector 10">
              <a:extLst>
                <a:ext uri="{FF2B5EF4-FFF2-40B4-BE49-F238E27FC236}">
                  <a16:creationId xmlns:a16="http://schemas.microsoft.com/office/drawing/2014/main" id="{9D5B3C8A-947A-4C94-BBAF-7C0CBEFE9524}"/>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3" name="Subtitle 2">
            <a:extLst>
              <a:ext uri="{FF2B5EF4-FFF2-40B4-BE49-F238E27FC236}">
                <a16:creationId xmlns:a16="http://schemas.microsoft.com/office/drawing/2014/main" id="{BD11FB02-C0B2-4BD4-BE01-7BEE43AB3928}"/>
              </a:ext>
            </a:extLst>
          </p:cNvPr>
          <p:cNvSpPr>
            <a:spLocks noGrp="1"/>
          </p:cNvSpPr>
          <p:nvPr>
            <p:ph type="subTitle" idx="14"/>
          </p:nvPr>
        </p:nvSpPr>
        <p:spPr>
          <a:xfrm>
            <a:off x="670969" y="1200219"/>
            <a:ext cx="10850064" cy="331451"/>
          </a:xfrm>
        </p:spPr>
        <p:txBody>
          <a:bodyPr lIns="0" tIns="0" rIns="0" bIns="0">
            <a:normAutofit/>
          </a:bodyPr>
          <a:lstStyle>
            <a:lvl1pPr marL="0" indent="0" algn="l">
              <a:buNone/>
              <a:defRPr sz="2000" spc="8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8A6D9EF2-1078-4CF1-AE32-B8E5CFC7CD9F}" type="slidenum">
              <a:rPr lang="en-US" smtClean="0"/>
              <a:pPr/>
              <a:t>‹#›</a:t>
            </a:fld>
            <a:endParaRPr lang="en-US" dirty="0"/>
          </a:p>
        </p:txBody>
      </p:sp>
      <p:sp>
        <p:nvSpPr>
          <p:cNvPr id="15" name="Rectangle 14">
            <a:extLst>
              <a:ext uri="{FF2B5EF4-FFF2-40B4-BE49-F238E27FC236}">
                <a16:creationId xmlns:a16="http://schemas.microsoft.com/office/drawing/2014/main" id="{4441C9F9-26EE-AB4D-826E-ED6425E8C5C8}"/>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970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11A8-0A7D-42B3-B6F6-71552188E675}"/>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3E298092-CB7D-4B99-9B3A-7BCBEBC3312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032EDEF-0284-474E-A57E-2E0EE762569D}"/>
              </a:ext>
            </a:extLst>
          </p:cNvPr>
          <p:cNvSpPr>
            <a:spLocks noGrp="1"/>
          </p:cNvSpPr>
          <p:nvPr>
            <p:ph type="sldNum" sz="quarter" idx="12"/>
          </p:nvPr>
        </p:nvSpPr>
        <p:spPr/>
        <p:txBody>
          <a:bodyPr/>
          <a:lstStyle/>
          <a:p>
            <a:fld id="{8A6D9EF2-1078-4CF1-AE32-B8E5CFC7CD9F}" type="slidenum">
              <a:rPr lang="en-US" smtClean="0"/>
              <a:pPr/>
              <a:t>‹#›</a:t>
            </a:fld>
            <a:endParaRPr lang="en-US" dirty="0"/>
          </a:p>
        </p:txBody>
      </p:sp>
      <p:grpSp>
        <p:nvGrpSpPr>
          <p:cNvPr id="7" name="Group 6">
            <a:extLst>
              <a:ext uri="{FF2B5EF4-FFF2-40B4-BE49-F238E27FC236}">
                <a16:creationId xmlns:a16="http://schemas.microsoft.com/office/drawing/2014/main" id="{4EE86026-4CB9-4620-B99B-173DFDF18DD5}"/>
              </a:ext>
            </a:extLst>
          </p:cNvPr>
          <p:cNvGrpSpPr/>
          <p:nvPr userDrawn="1"/>
        </p:nvGrpSpPr>
        <p:grpSpPr>
          <a:xfrm>
            <a:off x="685800" y="1315691"/>
            <a:ext cx="10820400" cy="180189"/>
            <a:chOff x="685800" y="1230120"/>
            <a:chExt cx="10820400" cy="180189"/>
          </a:xfrm>
        </p:grpSpPr>
        <p:pic>
          <p:nvPicPr>
            <p:cNvPr id="8" name="Picture 7">
              <a:extLst>
                <a:ext uri="{FF2B5EF4-FFF2-40B4-BE49-F238E27FC236}">
                  <a16:creationId xmlns:a16="http://schemas.microsoft.com/office/drawing/2014/main" id="{7C6B6447-B398-4CF5-ABE3-BF4118090C0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9" name="Straight Connector 8">
              <a:extLst>
                <a:ext uri="{FF2B5EF4-FFF2-40B4-BE49-F238E27FC236}">
                  <a16:creationId xmlns:a16="http://schemas.microsoft.com/office/drawing/2014/main" id="{364750E1-3CED-411F-9F90-D4D5B06EA4FA}"/>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870A0984-94BA-314C-A44A-C32DBA0C1F14}"/>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234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Modern Ho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66" name="Straight Connector 65">
            <a:extLst>
              <a:ext uri="{FF2B5EF4-FFF2-40B4-BE49-F238E27FC236}">
                <a16:creationId xmlns:a16="http://schemas.microsoft.com/office/drawing/2014/main" id="{49C5AD27-66A0-5544-9166-E733726D166E}"/>
              </a:ext>
            </a:extLst>
          </p:cNvPr>
          <p:cNvCxnSpPr>
            <a:cxnSpLocks/>
          </p:cNvCxnSpPr>
          <p:nvPr userDrawn="1"/>
        </p:nvCxnSpPr>
        <p:spPr>
          <a:xfrm>
            <a:off x="673281" y="3920604"/>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sp>
        <p:nvSpPr>
          <p:cNvPr id="68" name="Title 1">
            <a:extLst>
              <a:ext uri="{FF2B5EF4-FFF2-40B4-BE49-F238E27FC236}">
                <a16:creationId xmlns:a16="http://schemas.microsoft.com/office/drawing/2014/main" id="{CE0C05C7-BF62-6743-A892-69657183E9CD}"/>
              </a:ext>
            </a:extLst>
          </p:cNvPr>
          <p:cNvSpPr>
            <a:spLocks noGrp="1"/>
          </p:cNvSpPr>
          <p:nvPr>
            <p:ph type="ctrTitle"/>
          </p:nvPr>
        </p:nvSpPr>
        <p:spPr>
          <a:xfrm>
            <a:off x="679631" y="1929661"/>
            <a:ext cx="7251031" cy="1749760"/>
          </a:xfrm>
        </p:spPr>
        <p:txBody>
          <a:bodyPr anchor="b">
            <a:normAutofit/>
          </a:bodyPr>
          <a:lstStyle>
            <a:lvl1pPr algn="l">
              <a:lnSpc>
                <a:spcPts val="4400"/>
              </a:lnSpc>
              <a:defRPr sz="4000" b="0" spc="60" baseline="0">
                <a:solidFill>
                  <a:schemeClr val="tx1"/>
                </a:solidFill>
              </a:defRPr>
            </a:lvl1pPr>
          </a:lstStyle>
          <a:p>
            <a:r>
              <a:rPr lang="en-US" dirty="0"/>
              <a:t>Click to edit Master title style</a:t>
            </a:r>
          </a:p>
        </p:txBody>
      </p:sp>
      <p:sp>
        <p:nvSpPr>
          <p:cNvPr id="69" name="Subtitle 2">
            <a:extLst>
              <a:ext uri="{FF2B5EF4-FFF2-40B4-BE49-F238E27FC236}">
                <a16:creationId xmlns:a16="http://schemas.microsoft.com/office/drawing/2014/main" id="{1D645363-896A-8E4C-913C-C4C8D903E271}"/>
              </a:ext>
            </a:extLst>
          </p:cNvPr>
          <p:cNvSpPr>
            <a:spLocks noGrp="1"/>
          </p:cNvSpPr>
          <p:nvPr>
            <p:ph type="subTitle" idx="1"/>
          </p:nvPr>
        </p:nvSpPr>
        <p:spPr>
          <a:xfrm>
            <a:off x="670969" y="4161786"/>
            <a:ext cx="5286574" cy="453462"/>
          </a:xfrm>
        </p:spPr>
        <p:txBody>
          <a:bodyPr>
            <a:normAutofit/>
          </a:bodyPr>
          <a:lstStyle>
            <a:lvl1pPr marL="0" indent="0" algn="l">
              <a:buNone/>
              <a:defRPr sz="2800">
                <a:solidFill>
                  <a:srgbClr val="00355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1" name="Text Placeholder 21">
            <a:extLst>
              <a:ext uri="{FF2B5EF4-FFF2-40B4-BE49-F238E27FC236}">
                <a16:creationId xmlns:a16="http://schemas.microsoft.com/office/drawing/2014/main" id="{8C3D67D3-7DE2-E746-92EF-A6FBAE9D8EA2}"/>
              </a:ext>
            </a:extLst>
          </p:cNvPr>
          <p:cNvSpPr>
            <a:spLocks noGrp="1"/>
          </p:cNvSpPr>
          <p:nvPr>
            <p:ph type="body" sz="quarter" idx="13"/>
          </p:nvPr>
        </p:nvSpPr>
        <p:spPr>
          <a:xfrm>
            <a:off x="670969" y="4808982"/>
            <a:ext cx="5301815" cy="1600610"/>
          </a:xfrm>
        </p:spPr>
        <p:txBody>
          <a:bodyPr>
            <a:normAutofit/>
          </a:bodyPr>
          <a:lstStyle>
            <a:lvl1pPr marL="19050" indent="0">
              <a:spcBef>
                <a:spcPts val="0"/>
              </a:spcBef>
              <a:buFont typeface=".AppleSystemUIFont" charset="-120"/>
              <a:buChar char="​"/>
              <a:tabLst/>
              <a:defRPr sz="2400" b="0">
                <a:solidFill>
                  <a:srgbClr val="003555"/>
                </a:solidFill>
              </a:defRPr>
            </a:lvl1pPr>
            <a:lvl2pPr marL="19050" indent="0">
              <a:spcBef>
                <a:spcPts val="0"/>
              </a:spcBef>
              <a:buFont typeface=".AppleSystemUIFont" charset="-120"/>
              <a:buChar char="​"/>
              <a:tabLst/>
              <a:defRPr sz="2400" b="0">
                <a:solidFill>
                  <a:schemeClr val="accent1">
                    <a:lumMod val="40000"/>
                    <a:lumOff val="60000"/>
                  </a:schemeClr>
                </a:solidFill>
              </a:defRPr>
            </a:lvl2pPr>
            <a:lvl3pPr marL="19050" indent="0">
              <a:spcBef>
                <a:spcPts val="0"/>
              </a:spcBef>
              <a:buFont typeface=".AppleSystemUIFont" charset="-120"/>
              <a:buChar char="​"/>
              <a:tabLst/>
              <a:defRPr sz="2400" b="0">
                <a:solidFill>
                  <a:schemeClr val="accent1">
                    <a:lumMod val="40000"/>
                    <a:lumOff val="60000"/>
                  </a:schemeClr>
                </a:solidFill>
              </a:defRPr>
            </a:lvl3pPr>
            <a:lvl4pPr>
              <a:spcBef>
                <a:spcPts val="0"/>
              </a:spcBef>
              <a:defRPr sz="2400" b="0">
                <a:solidFill>
                  <a:schemeClr val="accent1">
                    <a:lumMod val="40000"/>
                    <a:lumOff val="60000"/>
                  </a:schemeClr>
                </a:solidFill>
              </a:defRPr>
            </a:lvl4pPr>
            <a:lvl5pPr>
              <a:spcBef>
                <a:spcPts val="0"/>
              </a:spcBef>
              <a:defRPr sz="2400" b="0">
                <a:solidFill>
                  <a:schemeClr val="accent1">
                    <a:lumMod val="40000"/>
                    <a:lumOff val="60000"/>
                  </a:schemeClr>
                </a:solidFill>
              </a:defRPr>
            </a:lvl5pPr>
            <a:lvl6pPr>
              <a:spcBef>
                <a:spcPts val="0"/>
              </a:spcBef>
              <a:spcAft>
                <a:spcPts val="600"/>
              </a:spcAft>
              <a:defRPr sz="1800">
                <a:solidFill>
                  <a:schemeClr val="accent1">
                    <a:lumMod val="40000"/>
                    <a:lumOff val="60000"/>
                  </a:schemeClr>
                </a:solidFill>
              </a:defRPr>
            </a:lvl6pPr>
            <a:lvl7pPr>
              <a:spcBef>
                <a:spcPts val="0"/>
              </a:spcBef>
              <a:spcAft>
                <a:spcPts val="600"/>
              </a:spcAft>
              <a:defRPr sz="1800">
                <a:solidFill>
                  <a:schemeClr val="accent1">
                    <a:lumMod val="40000"/>
                    <a:lumOff val="60000"/>
                  </a:schemeClr>
                </a:solidFill>
              </a:defRPr>
            </a:lvl7pPr>
            <a:lvl8pPr>
              <a:spcBef>
                <a:spcPts val="0"/>
              </a:spcBef>
              <a:spcAft>
                <a:spcPts val="600"/>
              </a:spcAft>
              <a:defRPr sz="1800">
                <a:solidFill>
                  <a:schemeClr val="accent1">
                    <a:lumMod val="40000"/>
                    <a:lumOff val="60000"/>
                  </a:schemeClr>
                </a:solidFill>
              </a:defRPr>
            </a:lvl8pPr>
            <a:lvl9pPr>
              <a:spcBef>
                <a:spcPts val="0"/>
              </a:spcBef>
              <a:spcAft>
                <a:spcPts val="600"/>
              </a:spcAft>
              <a:defRPr sz="1800">
                <a:solidFill>
                  <a:schemeClr val="accent1">
                    <a:lumMod val="40000"/>
                    <a:lumOff val="60000"/>
                  </a:schemeClr>
                </a:solidFill>
              </a:defRPr>
            </a:lvl9pPr>
          </a:lstStyle>
          <a:p>
            <a:pPr lvl="0"/>
            <a:r>
              <a:rPr lang="en-US" dirty="0"/>
              <a:t>Click to edit Master text styles</a:t>
            </a:r>
          </a:p>
        </p:txBody>
      </p:sp>
      <p:sp>
        <p:nvSpPr>
          <p:cNvPr id="72" name="Footer Placeholder 2">
            <a:extLst>
              <a:ext uri="{FF2B5EF4-FFF2-40B4-BE49-F238E27FC236}">
                <a16:creationId xmlns:a16="http://schemas.microsoft.com/office/drawing/2014/main" id="{B8DDA01C-A1A0-D543-AC07-204E71B13F06}"/>
              </a:ext>
            </a:extLst>
          </p:cNvPr>
          <p:cNvSpPr txBox="1">
            <a:spLocks/>
          </p:cNvSpPr>
          <p:nvPr userDrawn="1"/>
        </p:nvSpPr>
        <p:spPr>
          <a:xfrm>
            <a:off x="670969" y="6559095"/>
            <a:ext cx="289342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i="0" dirty="0">
                <a:solidFill>
                  <a:srgbClr val="FFFFFF"/>
                </a:solidFill>
                <a:latin typeface="Arial" panose="020B0604020202020204" pitchFamily="34" charset="0"/>
                <a:cs typeface="Arial" panose="020B0604020202020204" pitchFamily="34" charset="0"/>
              </a:rPr>
              <a:t>© ICE Mortgage Technology. All rights reserved. </a:t>
            </a:r>
            <a:fld id="{B3B1E8A1-168D-4243-9708-A76A30C359D9}" type="datetime1">
              <a:rPr lang="en-US" sz="900" b="0" i="0" smtClean="0">
                <a:solidFill>
                  <a:srgbClr val="FFFFFF"/>
                </a:solidFill>
                <a:latin typeface="Arial" panose="020B0604020202020204" pitchFamily="34" charset="0"/>
                <a:cs typeface="Arial" panose="020B0604020202020204" pitchFamily="34" charset="0"/>
              </a:rPr>
              <a:pPr algn="l"/>
              <a:t>8/17/2022</a:t>
            </a:fld>
            <a:endParaRPr lang="en-US" sz="900" b="0" i="0" dirty="0">
              <a:solidFill>
                <a:srgbClr val="FFFFFF"/>
              </a:solidFill>
              <a:latin typeface="Arial" panose="020B0604020202020204" pitchFamily="34" charset="0"/>
              <a:cs typeface="Arial" panose="020B0604020202020204" pitchFamily="34" charset="0"/>
            </a:endParaRPr>
          </a:p>
        </p:txBody>
      </p:sp>
      <p:pic>
        <p:nvPicPr>
          <p:cNvPr id="73" name="Picture 72" descr="A picture containing drawing&#10;&#10;Description automatically generated">
            <a:extLst>
              <a:ext uri="{FF2B5EF4-FFF2-40B4-BE49-F238E27FC236}">
                <a16:creationId xmlns:a16="http://schemas.microsoft.com/office/drawing/2014/main" id="{D6B46ADD-42FD-0444-96A2-9628BF3CEDD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70970" y="691072"/>
            <a:ext cx="2743200" cy="871369"/>
          </a:xfrm>
          <a:prstGeom prst="rect">
            <a:avLst/>
          </a:prstGeom>
        </p:spPr>
      </p:pic>
    </p:spTree>
    <p:extLst>
      <p:ext uri="{BB962C8B-B14F-4D97-AF65-F5344CB8AC3E}">
        <p14:creationId xmlns:p14="http://schemas.microsoft.com/office/powerpoint/2010/main" val="2291090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9">
                                            <p:txEl>
                                              <p:pRg st="0" end="0"/>
                                            </p:txEl>
                                          </p:spTgt>
                                        </p:tgtEl>
                                        <p:attrNameLst>
                                          <p:attrName>style.visibility</p:attrName>
                                        </p:attrNameLst>
                                      </p:cBhvr>
                                      <p:to>
                                        <p:strVal val="visible"/>
                                      </p:to>
                                    </p:set>
                                    <p:animEffect transition="in" filter="fade">
                                      <p:cBhvr>
                                        <p:cTn id="13" dur="500"/>
                                        <p:tgtEl>
                                          <p:spTgt spid="69">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1">
                                            <p:txEl>
                                              <p:pRg st="0" end="0"/>
                                            </p:txEl>
                                          </p:spTgt>
                                        </p:tgtEl>
                                        <p:attrNameLst>
                                          <p:attrName>style.visibility</p:attrName>
                                        </p:attrNameLst>
                                      </p:cBhvr>
                                      <p:to>
                                        <p:strVal val="visible"/>
                                      </p:to>
                                    </p:set>
                                    <p:animEffect transition="in" filter="fade">
                                      <p:cBhvr>
                                        <p:cTn id="16" dur="500"/>
                                        <p:tgtEl>
                                          <p:spTgt spid="7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9" grpId="0" build="p">
        <p:tmplLst>
          <p:tmpl lvl="1">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500"/>
                        <p:tgtEl>
                          <p:spTgt spid="69"/>
                        </p:tgtEl>
                      </p:cBhvr>
                    </p:animEffect>
                  </p:childTnLst>
                </p:cTn>
              </p:par>
            </p:tnLst>
          </p:tmpl>
        </p:tmplLst>
      </p:bldP>
      <p:bldP spid="71" grpId="0" build="p">
        <p:tmplLst>
          <p:tmpl lvl="1">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11A8-0A7D-42B3-B6F6-71552188E675}"/>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3E298092-CB7D-4B99-9B3A-7BCBEBC3312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032EDEF-0284-474E-A57E-2E0EE762569D}"/>
              </a:ext>
            </a:extLst>
          </p:cNvPr>
          <p:cNvSpPr>
            <a:spLocks noGrp="1"/>
          </p:cNvSpPr>
          <p:nvPr>
            <p:ph type="sldNum" sz="quarter" idx="12"/>
          </p:nvPr>
        </p:nvSpPr>
        <p:spPr/>
        <p:txBody>
          <a:bodyPr/>
          <a:lstStyle/>
          <a:p>
            <a:fld id="{8A6D9EF2-1078-4CF1-AE32-B8E5CFC7CD9F}" type="slidenum">
              <a:rPr lang="en-US" smtClean="0"/>
              <a:pPr/>
              <a:t>‹#›</a:t>
            </a:fld>
            <a:endParaRPr lang="en-US" dirty="0"/>
          </a:p>
        </p:txBody>
      </p:sp>
      <p:grpSp>
        <p:nvGrpSpPr>
          <p:cNvPr id="7" name="Group 6">
            <a:extLst>
              <a:ext uri="{FF2B5EF4-FFF2-40B4-BE49-F238E27FC236}">
                <a16:creationId xmlns:a16="http://schemas.microsoft.com/office/drawing/2014/main" id="{4EE86026-4CB9-4620-B99B-173DFDF18DD5}"/>
              </a:ext>
            </a:extLst>
          </p:cNvPr>
          <p:cNvGrpSpPr/>
          <p:nvPr userDrawn="1"/>
        </p:nvGrpSpPr>
        <p:grpSpPr>
          <a:xfrm>
            <a:off x="685800" y="1601520"/>
            <a:ext cx="10820400" cy="180189"/>
            <a:chOff x="685800" y="1230120"/>
            <a:chExt cx="10820400" cy="180189"/>
          </a:xfrm>
        </p:grpSpPr>
        <p:pic>
          <p:nvPicPr>
            <p:cNvPr id="8" name="Picture 7">
              <a:extLst>
                <a:ext uri="{FF2B5EF4-FFF2-40B4-BE49-F238E27FC236}">
                  <a16:creationId xmlns:a16="http://schemas.microsoft.com/office/drawing/2014/main" id="{7C6B6447-B398-4CF5-ABE3-BF4118090C0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9" name="Straight Connector 8">
              <a:extLst>
                <a:ext uri="{FF2B5EF4-FFF2-40B4-BE49-F238E27FC236}">
                  <a16:creationId xmlns:a16="http://schemas.microsoft.com/office/drawing/2014/main" id="{364750E1-3CED-411F-9F90-D4D5B06EA4FA}"/>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0" name="Subtitle 2">
            <a:extLst>
              <a:ext uri="{FF2B5EF4-FFF2-40B4-BE49-F238E27FC236}">
                <a16:creationId xmlns:a16="http://schemas.microsoft.com/office/drawing/2014/main" id="{F8D3D8C7-C6CB-4146-9B91-52F3331E7729}"/>
              </a:ext>
            </a:extLst>
          </p:cNvPr>
          <p:cNvSpPr>
            <a:spLocks noGrp="1"/>
          </p:cNvSpPr>
          <p:nvPr>
            <p:ph type="subTitle" idx="13"/>
          </p:nvPr>
        </p:nvSpPr>
        <p:spPr>
          <a:xfrm>
            <a:off x="670969" y="1200219"/>
            <a:ext cx="10850064" cy="331451"/>
          </a:xfrm>
        </p:spPr>
        <p:txBody>
          <a:bodyPr lIns="0" tIns="0" rIns="0" bIns="0">
            <a:normAutofit/>
          </a:bodyPr>
          <a:lstStyle>
            <a:lvl1pPr marL="0" indent="0" algn="l">
              <a:buNone/>
              <a:defRPr sz="2000" spc="8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Rectangle 11">
            <a:extLst>
              <a:ext uri="{FF2B5EF4-FFF2-40B4-BE49-F238E27FC236}">
                <a16:creationId xmlns:a16="http://schemas.microsoft.com/office/drawing/2014/main" id="{0898595D-F9E8-DF4E-A09C-96384F65823C}"/>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930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C263711-DF3C-4EFA-850A-007DAA2BA3D9}"/>
              </a:ext>
            </a:extLst>
          </p:cNvPr>
          <p:cNvSpPr>
            <a:spLocks noGrp="1"/>
          </p:cNvSpPr>
          <p:nvPr>
            <p:ph type="ftr" sz="quarter" idx="11"/>
          </p:nvPr>
        </p:nvSpPr>
        <p:spPr/>
        <p:txBody>
          <a:bodyPr/>
          <a:lstStyle>
            <a:lvl1pPr>
              <a:defRPr>
                <a:solidFill>
                  <a:schemeClr val="bg2"/>
                </a:solidFill>
              </a:defRPr>
            </a:lvl1pPr>
          </a:lstStyle>
          <a:p>
            <a:endParaRPr lang="en-US" dirty="0"/>
          </a:p>
        </p:txBody>
      </p:sp>
      <p:sp>
        <p:nvSpPr>
          <p:cNvPr id="4" name="Slide Number Placeholder 3">
            <a:extLst>
              <a:ext uri="{FF2B5EF4-FFF2-40B4-BE49-F238E27FC236}">
                <a16:creationId xmlns:a16="http://schemas.microsoft.com/office/drawing/2014/main" id="{BB683ECC-6379-42CE-A8BE-3D94053A9695}"/>
              </a:ext>
            </a:extLst>
          </p:cNvPr>
          <p:cNvSpPr>
            <a:spLocks noGrp="1"/>
          </p:cNvSpPr>
          <p:nvPr>
            <p:ph type="sldNum" sz="quarter" idx="12"/>
          </p:nvPr>
        </p:nvSpPr>
        <p:spPr/>
        <p:txBody>
          <a:bodyPr/>
          <a:lstStyle>
            <a:lvl1pPr>
              <a:defRPr>
                <a:solidFill>
                  <a:schemeClr val="bg2"/>
                </a:solidFill>
              </a:defRPr>
            </a:lvl1pPr>
          </a:lstStyle>
          <a:p>
            <a:fld id="{8A6D9EF2-1078-4CF1-AE32-B8E5CFC7CD9F}" type="slidenum">
              <a:rPr lang="en-US" smtClean="0"/>
              <a:pPr/>
              <a:t>‹#›</a:t>
            </a:fld>
            <a:endParaRPr lang="en-US" dirty="0"/>
          </a:p>
        </p:txBody>
      </p:sp>
    </p:spTree>
    <p:extLst>
      <p:ext uri="{BB962C8B-B14F-4D97-AF65-F5344CB8AC3E}">
        <p14:creationId xmlns:p14="http://schemas.microsoft.com/office/powerpoint/2010/main" val="260911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C263711-DF3C-4EFA-850A-007DAA2BA3D9}"/>
              </a:ext>
            </a:extLst>
          </p:cNvPr>
          <p:cNvSpPr>
            <a:spLocks noGrp="1"/>
          </p:cNvSpPr>
          <p:nvPr>
            <p:ph type="ftr" sz="quarter" idx="11"/>
          </p:nvPr>
        </p:nvSpPr>
        <p:spPr/>
        <p:txBody>
          <a:bodyPr/>
          <a:lstStyle>
            <a:lvl1pPr>
              <a:defRPr>
                <a:solidFill>
                  <a:schemeClr val="bg2"/>
                </a:solidFill>
              </a:defRPr>
            </a:lvl1pPr>
          </a:lstStyle>
          <a:p>
            <a:endParaRPr lang="en-US" dirty="0"/>
          </a:p>
        </p:txBody>
      </p:sp>
      <p:sp>
        <p:nvSpPr>
          <p:cNvPr id="4" name="Slide Number Placeholder 3">
            <a:extLst>
              <a:ext uri="{FF2B5EF4-FFF2-40B4-BE49-F238E27FC236}">
                <a16:creationId xmlns:a16="http://schemas.microsoft.com/office/drawing/2014/main" id="{BB683ECC-6379-42CE-A8BE-3D94053A9695}"/>
              </a:ext>
            </a:extLst>
          </p:cNvPr>
          <p:cNvSpPr>
            <a:spLocks noGrp="1"/>
          </p:cNvSpPr>
          <p:nvPr>
            <p:ph type="sldNum" sz="quarter" idx="12"/>
          </p:nvPr>
        </p:nvSpPr>
        <p:spPr/>
        <p:txBody>
          <a:bodyPr/>
          <a:lstStyle>
            <a:lvl1pPr>
              <a:defRPr>
                <a:solidFill>
                  <a:schemeClr val="bg2"/>
                </a:solidFill>
              </a:defRPr>
            </a:lvl1pPr>
          </a:lstStyle>
          <a:p>
            <a:fld id="{8A6D9EF2-1078-4CF1-AE32-B8E5CFC7CD9F}" type="slidenum">
              <a:rPr lang="en-US" smtClean="0"/>
              <a:pPr/>
              <a:t>‹#›</a:t>
            </a:fld>
            <a:endParaRPr lang="en-US" dirty="0"/>
          </a:p>
        </p:txBody>
      </p:sp>
      <p:sp>
        <p:nvSpPr>
          <p:cNvPr id="5" name="Picture Placeholder 4"/>
          <p:cNvSpPr>
            <a:spLocks noGrp="1"/>
          </p:cNvSpPr>
          <p:nvPr>
            <p:ph type="pic" sz="quarter" idx="13"/>
          </p:nvPr>
        </p:nvSpPr>
        <p:spPr>
          <a:xfrm>
            <a:off x="670969" y="667512"/>
            <a:ext cx="10850062" cy="5522976"/>
          </a:xfrm>
        </p:spPr>
        <p:txBody>
          <a:body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martphone Screenshot">
    <p:bg>
      <p:bgPr>
        <a:solidFill>
          <a:schemeClr val="tx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C263711-DF3C-4EFA-850A-007DAA2BA3D9}"/>
              </a:ext>
            </a:extLst>
          </p:cNvPr>
          <p:cNvSpPr>
            <a:spLocks noGrp="1"/>
          </p:cNvSpPr>
          <p:nvPr>
            <p:ph type="ftr" sz="quarter" idx="11"/>
          </p:nvPr>
        </p:nvSpPr>
        <p:spPr>
          <a:xfrm>
            <a:off x="1767508" y="6550738"/>
            <a:ext cx="6217920" cy="150207"/>
          </a:xfrm>
        </p:spPr>
        <p:txBody>
          <a:bodyPr/>
          <a:lstStyle>
            <a:lvl1pPr>
              <a:defRPr>
                <a:solidFill>
                  <a:schemeClr val="bg1"/>
                </a:solidFill>
              </a:defRPr>
            </a:lvl1pPr>
          </a:lstStyle>
          <a:p>
            <a:endParaRPr lang="en-US" dirty="0"/>
          </a:p>
        </p:txBody>
      </p:sp>
      <p:sp>
        <p:nvSpPr>
          <p:cNvPr id="4" name="Slide Number Placeholder 3">
            <a:extLst>
              <a:ext uri="{FF2B5EF4-FFF2-40B4-BE49-F238E27FC236}">
                <a16:creationId xmlns:a16="http://schemas.microsoft.com/office/drawing/2014/main" id="{BB683ECC-6379-42CE-A8BE-3D94053A9695}"/>
              </a:ext>
            </a:extLst>
          </p:cNvPr>
          <p:cNvSpPr>
            <a:spLocks noGrp="1"/>
          </p:cNvSpPr>
          <p:nvPr>
            <p:ph type="sldNum" sz="quarter" idx="12"/>
          </p:nvPr>
        </p:nvSpPr>
        <p:spPr/>
        <p:txBody>
          <a:bodyPr/>
          <a:lstStyle>
            <a:lvl1pPr>
              <a:defRPr>
                <a:solidFill>
                  <a:schemeClr val="bg1"/>
                </a:solidFill>
              </a:defRPr>
            </a:lvl1pPr>
          </a:lstStyle>
          <a:p>
            <a:fld id="{8A6D9EF2-1078-4CF1-AE32-B8E5CFC7CD9F}" type="slidenum">
              <a:rPr lang="en-US" smtClean="0"/>
              <a:pPr/>
              <a:t>‹#›</a:t>
            </a:fld>
            <a:endParaRPr lang="en-US" dirty="0"/>
          </a:p>
        </p:txBody>
      </p:sp>
      <p:cxnSp>
        <p:nvCxnSpPr>
          <p:cNvPr id="28" name="Straight Connector 27">
            <a:extLst>
              <a:ext uri="{FF2B5EF4-FFF2-40B4-BE49-F238E27FC236}">
                <a16:creationId xmlns:a16="http://schemas.microsoft.com/office/drawing/2014/main" id="{9AF9159E-D562-4A37-8C1B-7A42F035A48A}"/>
              </a:ext>
            </a:extLst>
          </p:cNvPr>
          <p:cNvCxnSpPr/>
          <p:nvPr userDrawn="1"/>
        </p:nvCxnSpPr>
        <p:spPr>
          <a:xfrm>
            <a:off x="11179926" y="6542036"/>
            <a:ext cx="0" cy="174157"/>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9" name="Group 4">
            <a:extLst>
              <a:ext uri="{FF2B5EF4-FFF2-40B4-BE49-F238E27FC236}">
                <a16:creationId xmlns:a16="http://schemas.microsoft.com/office/drawing/2014/main" id="{EE2D6287-6CA2-4B44-8C4F-E9813B6C5BCF}"/>
              </a:ext>
            </a:extLst>
          </p:cNvPr>
          <p:cNvGrpSpPr>
            <a:grpSpLocks noChangeAspect="1"/>
          </p:cNvGrpSpPr>
          <p:nvPr userDrawn="1"/>
        </p:nvGrpSpPr>
        <p:grpSpPr bwMode="auto">
          <a:xfrm>
            <a:off x="4718505" y="738846"/>
            <a:ext cx="2754989" cy="5577840"/>
            <a:chOff x="1730" y="-2115"/>
            <a:chExt cx="4222" cy="8548"/>
          </a:xfrm>
        </p:grpSpPr>
        <p:sp>
          <p:nvSpPr>
            <p:cNvPr id="30" name="Freeform 5">
              <a:extLst>
                <a:ext uri="{FF2B5EF4-FFF2-40B4-BE49-F238E27FC236}">
                  <a16:creationId xmlns:a16="http://schemas.microsoft.com/office/drawing/2014/main" id="{A9F6A8A8-F8EC-BE4E-BCA5-BB1C728F0A11}"/>
                </a:ext>
              </a:extLst>
            </p:cNvPr>
            <p:cNvSpPr>
              <a:spLocks/>
            </p:cNvSpPr>
            <p:nvPr userDrawn="1"/>
          </p:nvSpPr>
          <p:spPr bwMode="auto">
            <a:xfrm>
              <a:off x="1730" y="-2115"/>
              <a:ext cx="4222" cy="8548"/>
            </a:xfrm>
            <a:custGeom>
              <a:avLst/>
              <a:gdLst>
                <a:gd name="T0" fmla="*/ 1768 w 1784"/>
                <a:gd name="T1" fmla="*/ 722 h 3616"/>
                <a:gd name="T2" fmla="*/ 1768 w 1784"/>
                <a:gd name="T3" fmla="*/ 256 h 3616"/>
                <a:gd name="T4" fmla="*/ 1513 w 1784"/>
                <a:gd name="T5" fmla="*/ 0 h 3616"/>
                <a:gd name="T6" fmla="*/ 272 w 1784"/>
                <a:gd name="T7" fmla="*/ 0 h 3616"/>
                <a:gd name="T8" fmla="*/ 16 w 1784"/>
                <a:gd name="T9" fmla="*/ 256 h 3616"/>
                <a:gd name="T10" fmla="*/ 16 w 1784"/>
                <a:gd name="T11" fmla="*/ 522 h 3616"/>
                <a:gd name="T12" fmla="*/ 0 w 1784"/>
                <a:gd name="T13" fmla="*/ 556 h 3616"/>
                <a:gd name="T14" fmla="*/ 0 w 1784"/>
                <a:gd name="T15" fmla="*/ 748 h 3616"/>
                <a:gd name="T16" fmla="*/ 16 w 1784"/>
                <a:gd name="T17" fmla="*/ 782 h 3616"/>
                <a:gd name="T18" fmla="*/ 16 w 1784"/>
                <a:gd name="T19" fmla="*/ 970 h 3616"/>
                <a:gd name="T20" fmla="*/ 0 w 1784"/>
                <a:gd name="T21" fmla="*/ 1004 h 3616"/>
                <a:gd name="T22" fmla="*/ 0 w 1784"/>
                <a:gd name="T23" fmla="*/ 1196 h 3616"/>
                <a:gd name="T24" fmla="*/ 16 w 1784"/>
                <a:gd name="T25" fmla="*/ 1230 h 3616"/>
                <a:gd name="T26" fmla="*/ 16 w 1784"/>
                <a:gd name="T27" fmla="*/ 1262 h 3616"/>
                <a:gd name="T28" fmla="*/ 0 w 1784"/>
                <a:gd name="T29" fmla="*/ 1296 h 3616"/>
                <a:gd name="T30" fmla="*/ 0 w 1784"/>
                <a:gd name="T31" fmla="*/ 1488 h 3616"/>
                <a:gd name="T32" fmla="*/ 16 w 1784"/>
                <a:gd name="T33" fmla="*/ 1522 h 3616"/>
                <a:gd name="T34" fmla="*/ 16 w 1784"/>
                <a:gd name="T35" fmla="*/ 3360 h 3616"/>
                <a:gd name="T36" fmla="*/ 272 w 1784"/>
                <a:gd name="T37" fmla="*/ 3616 h 3616"/>
                <a:gd name="T38" fmla="*/ 1513 w 1784"/>
                <a:gd name="T39" fmla="*/ 3616 h 3616"/>
                <a:gd name="T40" fmla="*/ 1768 w 1784"/>
                <a:gd name="T41" fmla="*/ 3360 h 3616"/>
                <a:gd name="T42" fmla="*/ 1768 w 1784"/>
                <a:gd name="T43" fmla="*/ 982 h 3616"/>
                <a:gd name="T44" fmla="*/ 1784 w 1784"/>
                <a:gd name="T45" fmla="*/ 948 h 3616"/>
                <a:gd name="T46" fmla="*/ 1784 w 1784"/>
                <a:gd name="T47" fmla="*/ 756 h 3616"/>
                <a:gd name="T48" fmla="*/ 1768 w 1784"/>
                <a:gd name="T49" fmla="*/ 722 h 3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4" h="3616">
                  <a:moveTo>
                    <a:pt x="1768" y="722"/>
                  </a:moveTo>
                  <a:cubicBezTo>
                    <a:pt x="1768" y="256"/>
                    <a:pt x="1768" y="256"/>
                    <a:pt x="1768" y="256"/>
                  </a:cubicBezTo>
                  <a:cubicBezTo>
                    <a:pt x="1768" y="115"/>
                    <a:pt x="1653" y="0"/>
                    <a:pt x="1513" y="0"/>
                  </a:cubicBezTo>
                  <a:cubicBezTo>
                    <a:pt x="272" y="0"/>
                    <a:pt x="272" y="0"/>
                    <a:pt x="272" y="0"/>
                  </a:cubicBezTo>
                  <a:cubicBezTo>
                    <a:pt x="131" y="0"/>
                    <a:pt x="16" y="115"/>
                    <a:pt x="16" y="256"/>
                  </a:cubicBezTo>
                  <a:cubicBezTo>
                    <a:pt x="16" y="522"/>
                    <a:pt x="16" y="522"/>
                    <a:pt x="16" y="522"/>
                  </a:cubicBezTo>
                  <a:cubicBezTo>
                    <a:pt x="6" y="530"/>
                    <a:pt x="0" y="542"/>
                    <a:pt x="0" y="556"/>
                  </a:cubicBezTo>
                  <a:cubicBezTo>
                    <a:pt x="0" y="748"/>
                    <a:pt x="0" y="748"/>
                    <a:pt x="0" y="748"/>
                  </a:cubicBezTo>
                  <a:cubicBezTo>
                    <a:pt x="0" y="762"/>
                    <a:pt x="6" y="774"/>
                    <a:pt x="16" y="782"/>
                  </a:cubicBezTo>
                  <a:cubicBezTo>
                    <a:pt x="16" y="970"/>
                    <a:pt x="16" y="970"/>
                    <a:pt x="16" y="970"/>
                  </a:cubicBezTo>
                  <a:cubicBezTo>
                    <a:pt x="6" y="978"/>
                    <a:pt x="0" y="990"/>
                    <a:pt x="0" y="1004"/>
                  </a:cubicBezTo>
                  <a:cubicBezTo>
                    <a:pt x="0" y="1196"/>
                    <a:pt x="0" y="1196"/>
                    <a:pt x="0" y="1196"/>
                  </a:cubicBezTo>
                  <a:cubicBezTo>
                    <a:pt x="0" y="1210"/>
                    <a:pt x="6" y="1222"/>
                    <a:pt x="16" y="1230"/>
                  </a:cubicBezTo>
                  <a:cubicBezTo>
                    <a:pt x="16" y="1262"/>
                    <a:pt x="16" y="1262"/>
                    <a:pt x="16" y="1262"/>
                  </a:cubicBezTo>
                  <a:cubicBezTo>
                    <a:pt x="6" y="1270"/>
                    <a:pt x="0" y="1282"/>
                    <a:pt x="0" y="1296"/>
                  </a:cubicBezTo>
                  <a:cubicBezTo>
                    <a:pt x="0" y="1488"/>
                    <a:pt x="0" y="1488"/>
                    <a:pt x="0" y="1488"/>
                  </a:cubicBezTo>
                  <a:cubicBezTo>
                    <a:pt x="0" y="1502"/>
                    <a:pt x="6" y="1514"/>
                    <a:pt x="16" y="1522"/>
                  </a:cubicBezTo>
                  <a:cubicBezTo>
                    <a:pt x="16" y="3360"/>
                    <a:pt x="16" y="3360"/>
                    <a:pt x="16" y="3360"/>
                  </a:cubicBezTo>
                  <a:cubicBezTo>
                    <a:pt x="16" y="3501"/>
                    <a:pt x="131" y="3616"/>
                    <a:pt x="272" y="3616"/>
                  </a:cubicBezTo>
                  <a:cubicBezTo>
                    <a:pt x="1513" y="3616"/>
                    <a:pt x="1513" y="3616"/>
                    <a:pt x="1513" y="3616"/>
                  </a:cubicBezTo>
                  <a:cubicBezTo>
                    <a:pt x="1653" y="3616"/>
                    <a:pt x="1768" y="3501"/>
                    <a:pt x="1768" y="3360"/>
                  </a:cubicBezTo>
                  <a:cubicBezTo>
                    <a:pt x="1768" y="982"/>
                    <a:pt x="1768" y="982"/>
                    <a:pt x="1768" y="982"/>
                  </a:cubicBezTo>
                  <a:cubicBezTo>
                    <a:pt x="1778" y="973"/>
                    <a:pt x="1784" y="961"/>
                    <a:pt x="1784" y="948"/>
                  </a:cubicBezTo>
                  <a:cubicBezTo>
                    <a:pt x="1784" y="756"/>
                    <a:pt x="1784" y="756"/>
                    <a:pt x="1784" y="756"/>
                  </a:cubicBezTo>
                  <a:cubicBezTo>
                    <a:pt x="1784" y="743"/>
                    <a:pt x="1778" y="731"/>
                    <a:pt x="1768" y="722"/>
                  </a:cubicBezTo>
                  <a:close/>
                </a:path>
              </a:pathLst>
            </a:custGeom>
            <a:solidFill>
              <a:srgbClr val="FFFFFF"/>
            </a:solidFill>
            <a:ln>
              <a:noFill/>
            </a:ln>
            <a:effectLst>
              <a:outerShdw blurRad="635000" dist="177800" dir="5400000" sx="107000" sy="107000" algn="ctr" rotWithShape="0">
                <a:srgbClr val="000000">
                  <a:alpha val="10000"/>
                </a:srgb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1" name="Oval 6">
              <a:extLst>
                <a:ext uri="{FF2B5EF4-FFF2-40B4-BE49-F238E27FC236}">
                  <a16:creationId xmlns:a16="http://schemas.microsoft.com/office/drawing/2014/main" id="{07F50C46-B951-C549-A518-6594DC89262E}"/>
                </a:ext>
              </a:extLst>
            </p:cNvPr>
            <p:cNvSpPr>
              <a:spLocks noChangeArrowheads="1"/>
            </p:cNvSpPr>
            <p:nvPr userDrawn="1"/>
          </p:nvSpPr>
          <p:spPr bwMode="auto">
            <a:xfrm>
              <a:off x="3572" y="5634"/>
              <a:ext cx="539" cy="5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a:extLst>
                <a:ext uri="{FF2B5EF4-FFF2-40B4-BE49-F238E27FC236}">
                  <a16:creationId xmlns:a16="http://schemas.microsoft.com/office/drawing/2014/main" id="{62E187C3-44E9-1D48-AB51-DED94D41C6E4}"/>
                </a:ext>
              </a:extLst>
            </p:cNvPr>
            <p:cNvSpPr>
              <a:spLocks noEditPoints="1"/>
            </p:cNvSpPr>
            <p:nvPr userDrawn="1"/>
          </p:nvSpPr>
          <p:spPr bwMode="auto">
            <a:xfrm>
              <a:off x="3548" y="5610"/>
              <a:ext cx="587" cy="587"/>
            </a:xfrm>
            <a:custGeom>
              <a:avLst/>
              <a:gdLst>
                <a:gd name="T0" fmla="*/ 124 w 248"/>
                <a:gd name="T1" fmla="*/ 20 h 248"/>
                <a:gd name="T2" fmla="*/ 228 w 248"/>
                <a:gd name="T3" fmla="*/ 124 h 248"/>
                <a:gd name="T4" fmla="*/ 124 w 248"/>
                <a:gd name="T5" fmla="*/ 228 h 248"/>
                <a:gd name="T6" fmla="*/ 20 w 248"/>
                <a:gd name="T7" fmla="*/ 124 h 248"/>
                <a:gd name="T8" fmla="*/ 124 w 248"/>
                <a:gd name="T9" fmla="*/ 20 h 248"/>
                <a:gd name="T10" fmla="*/ 124 w 248"/>
                <a:gd name="T11" fmla="*/ 0 h 248"/>
                <a:gd name="T12" fmla="*/ 0 w 248"/>
                <a:gd name="T13" fmla="*/ 124 h 248"/>
                <a:gd name="T14" fmla="*/ 124 w 248"/>
                <a:gd name="T15" fmla="*/ 248 h 248"/>
                <a:gd name="T16" fmla="*/ 248 w 248"/>
                <a:gd name="T17" fmla="*/ 124 h 248"/>
                <a:gd name="T18" fmla="*/ 124 w 248"/>
                <a:gd name="T19"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8">
                  <a:moveTo>
                    <a:pt x="124" y="20"/>
                  </a:moveTo>
                  <a:cubicBezTo>
                    <a:pt x="182" y="20"/>
                    <a:pt x="228" y="67"/>
                    <a:pt x="228" y="124"/>
                  </a:cubicBezTo>
                  <a:cubicBezTo>
                    <a:pt x="228" y="181"/>
                    <a:pt x="182" y="228"/>
                    <a:pt x="124" y="228"/>
                  </a:cubicBezTo>
                  <a:cubicBezTo>
                    <a:pt x="67" y="228"/>
                    <a:pt x="20" y="181"/>
                    <a:pt x="20" y="124"/>
                  </a:cubicBezTo>
                  <a:cubicBezTo>
                    <a:pt x="20" y="67"/>
                    <a:pt x="67" y="20"/>
                    <a:pt x="124" y="20"/>
                  </a:cubicBezTo>
                  <a:moveTo>
                    <a:pt x="124" y="0"/>
                  </a:moveTo>
                  <a:cubicBezTo>
                    <a:pt x="56" y="0"/>
                    <a:pt x="0" y="56"/>
                    <a:pt x="0" y="124"/>
                  </a:cubicBezTo>
                  <a:cubicBezTo>
                    <a:pt x="0" y="192"/>
                    <a:pt x="56" y="248"/>
                    <a:pt x="124" y="248"/>
                  </a:cubicBezTo>
                  <a:cubicBezTo>
                    <a:pt x="193" y="248"/>
                    <a:pt x="248" y="192"/>
                    <a:pt x="248" y="124"/>
                  </a:cubicBezTo>
                  <a:cubicBezTo>
                    <a:pt x="248" y="56"/>
                    <a:pt x="193" y="0"/>
                    <a:pt x="124"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8">
              <a:extLst>
                <a:ext uri="{FF2B5EF4-FFF2-40B4-BE49-F238E27FC236}">
                  <a16:creationId xmlns:a16="http://schemas.microsoft.com/office/drawing/2014/main" id="{F14E1B12-5755-BC48-B608-03F1F49486B7}"/>
                </a:ext>
              </a:extLst>
            </p:cNvPr>
            <p:cNvSpPr>
              <a:spLocks noChangeArrowheads="1"/>
            </p:cNvSpPr>
            <p:nvPr userDrawn="1"/>
          </p:nvSpPr>
          <p:spPr bwMode="auto">
            <a:xfrm>
              <a:off x="3131" y="-1671"/>
              <a:ext cx="152" cy="15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9">
              <a:extLst>
                <a:ext uri="{FF2B5EF4-FFF2-40B4-BE49-F238E27FC236}">
                  <a16:creationId xmlns:a16="http://schemas.microsoft.com/office/drawing/2014/main" id="{1234476C-4227-9841-A6C1-677E25D66524}"/>
                </a:ext>
              </a:extLst>
            </p:cNvPr>
            <p:cNvSpPr>
              <a:spLocks noChangeArrowheads="1"/>
            </p:cNvSpPr>
            <p:nvPr userDrawn="1"/>
          </p:nvSpPr>
          <p:spPr bwMode="auto">
            <a:xfrm>
              <a:off x="3784" y="-1898"/>
              <a:ext cx="114" cy="11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a:extLst>
                <a:ext uri="{FF2B5EF4-FFF2-40B4-BE49-F238E27FC236}">
                  <a16:creationId xmlns:a16="http://schemas.microsoft.com/office/drawing/2014/main" id="{F63FBF1A-B6EC-3C48-AF6A-E2206B19D853}"/>
                </a:ext>
              </a:extLst>
            </p:cNvPr>
            <p:cNvSpPr>
              <a:spLocks/>
            </p:cNvSpPr>
            <p:nvPr userDrawn="1"/>
          </p:nvSpPr>
          <p:spPr bwMode="auto">
            <a:xfrm>
              <a:off x="3510" y="-1652"/>
              <a:ext cx="663" cy="123"/>
            </a:xfrm>
            <a:custGeom>
              <a:avLst/>
              <a:gdLst>
                <a:gd name="T0" fmla="*/ 254 w 280"/>
                <a:gd name="T1" fmla="*/ 52 h 52"/>
                <a:gd name="T2" fmla="*/ 26 w 280"/>
                <a:gd name="T3" fmla="*/ 52 h 52"/>
                <a:gd name="T4" fmla="*/ 0 w 280"/>
                <a:gd name="T5" fmla="*/ 26 h 52"/>
                <a:gd name="T6" fmla="*/ 0 w 280"/>
                <a:gd name="T7" fmla="*/ 26 h 52"/>
                <a:gd name="T8" fmla="*/ 26 w 280"/>
                <a:gd name="T9" fmla="*/ 0 h 52"/>
                <a:gd name="T10" fmla="*/ 254 w 280"/>
                <a:gd name="T11" fmla="*/ 0 h 52"/>
                <a:gd name="T12" fmla="*/ 280 w 280"/>
                <a:gd name="T13" fmla="*/ 26 h 52"/>
                <a:gd name="T14" fmla="*/ 280 w 280"/>
                <a:gd name="T15" fmla="*/ 26 h 52"/>
                <a:gd name="T16" fmla="*/ 254 w 2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52">
                  <a:moveTo>
                    <a:pt x="254" y="52"/>
                  </a:moveTo>
                  <a:cubicBezTo>
                    <a:pt x="26" y="52"/>
                    <a:pt x="26" y="52"/>
                    <a:pt x="26" y="52"/>
                  </a:cubicBezTo>
                  <a:cubicBezTo>
                    <a:pt x="12" y="52"/>
                    <a:pt x="0" y="40"/>
                    <a:pt x="0" y="26"/>
                  </a:cubicBezTo>
                  <a:cubicBezTo>
                    <a:pt x="0" y="26"/>
                    <a:pt x="0" y="26"/>
                    <a:pt x="0" y="26"/>
                  </a:cubicBezTo>
                  <a:cubicBezTo>
                    <a:pt x="0" y="12"/>
                    <a:pt x="12" y="0"/>
                    <a:pt x="26" y="0"/>
                  </a:cubicBezTo>
                  <a:cubicBezTo>
                    <a:pt x="254" y="0"/>
                    <a:pt x="254" y="0"/>
                    <a:pt x="254" y="0"/>
                  </a:cubicBezTo>
                  <a:cubicBezTo>
                    <a:pt x="269" y="0"/>
                    <a:pt x="280" y="12"/>
                    <a:pt x="280" y="26"/>
                  </a:cubicBezTo>
                  <a:cubicBezTo>
                    <a:pt x="280" y="26"/>
                    <a:pt x="280" y="26"/>
                    <a:pt x="280" y="26"/>
                  </a:cubicBezTo>
                  <a:cubicBezTo>
                    <a:pt x="280" y="40"/>
                    <a:pt x="269" y="52"/>
                    <a:pt x="254"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1">
              <a:extLst>
                <a:ext uri="{FF2B5EF4-FFF2-40B4-BE49-F238E27FC236}">
                  <a16:creationId xmlns:a16="http://schemas.microsoft.com/office/drawing/2014/main" id="{138874B9-9E4C-D74C-A3E6-93D83009E99B}"/>
                </a:ext>
              </a:extLst>
            </p:cNvPr>
            <p:cNvSpPr>
              <a:spLocks noChangeArrowheads="1"/>
            </p:cNvSpPr>
            <p:nvPr userDrawn="1"/>
          </p:nvSpPr>
          <p:spPr bwMode="auto">
            <a:xfrm>
              <a:off x="1981" y="-1085"/>
              <a:ext cx="3720" cy="64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Picture Placeholder 4">
            <a:extLst>
              <a:ext uri="{FF2B5EF4-FFF2-40B4-BE49-F238E27FC236}">
                <a16:creationId xmlns:a16="http://schemas.microsoft.com/office/drawing/2014/main" id="{6A714BFF-4F15-8343-BEAE-28AD0A065595}"/>
              </a:ext>
            </a:extLst>
          </p:cNvPr>
          <p:cNvSpPr>
            <a:spLocks noGrp="1" noChangeAspect="1"/>
          </p:cNvSpPr>
          <p:nvPr>
            <p:ph type="pic" sz="quarter" idx="13"/>
          </p:nvPr>
        </p:nvSpPr>
        <p:spPr>
          <a:xfrm>
            <a:off x="4887490" y="1417185"/>
            <a:ext cx="2416823" cy="4206240"/>
          </a:xfrm>
        </p:spPr>
        <p:txBody>
          <a:bodyPr/>
          <a:lstStyle/>
          <a:p>
            <a:endParaRPr lang="en-US" dirty="0"/>
          </a:p>
        </p:txBody>
      </p:sp>
      <p:sp>
        <p:nvSpPr>
          <p:cNvPr id="38" name="Footer Placeholder 2">
            <a:extLst>
              <a:ext uri="{FF2B5EF4-FFF2-40B4-BE49-F238E27FC236}">
                <a16:creationId xmlns:a16="http://schemas.microsoft.com/office/drawing/2014/main" id="{200943FB-DAF4-0346-84B9-1F77A4B88821}"/>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bg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bg1"/>
                </a:solidFill>
                <a:latin typeface="Arial" panose="020B0604020202020204" pitchFamily="34" charset="0"/>
                <a:cs typeface="Arial" panose="020B0604020202020204" pitchFamily="34" charset="0"/>
              </a:rPr>
              <a:pPr algn="r"/>
              <a:t>8/17/2022</a:t>
            </a:fld>
            <a:r>
              <a:rPr lang="en-US" sz="900" b="0" i="0" dirty="0">
                <a:solidFill>
                  <a:schemeClr val="bg1"/>
                </a:solidFill>
                <a:latin typeface="Arial" panose="020B0604020202020204" pitchFamily="34" charset="0"/>
                <a:cs typeface="Arial" panose="020B0604020202020204" pitchFamily="34" charset="0"/>
              </a:rPr>
              <a:t> </a:t>
            </a:r>
          </a:p>
        </p:txBody>
      </p:sp>
      <p:pic>
        <p:nvPicPr>
          <p:cNvPr id="39" name="Picture 38">
            <a:extLst>
              <a:ext uri="{FF2B5EF4-FFF2-40B4-BE49-F238E27FC236}">
                <a16:creationId xmlns:a16="http://schemas.microsoft.com/office/drawing/2014/main" id="{F5973107-2756-2E47-BC94-8B7DB8C3A41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100813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ablet Screenshot">
    <p:bg>
      <p:bgPr>
        <a:solidFill>
          <a:schemeClr val="tx2"/>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B683ECC-6379-42CE-A8BE-3D94053A9695}"/>
              </a:ext>
            </a:extLst>
          </p:cNvPr>
          <p:cNvSpPr>
            <a:spLocks noGrp="1"/>
          </p:cNvSpPr>
          <p:nvPr>
            <p:ph type="sldNum" sz="quarter" idx="12"/>
          </p:nvPr>
        </p:nvSpPr>
        <p:spPr/>
        <p:txBody>
          <a:bodyPr/>
          <a:lstStyle>
            <a:lvl1pPr>
              <a:defRPr>
                <a:solidFill>
                  <a:schemeClr val="bg1"/>
                </a:solidFill>
              </a:defRPr>
            </a:lvl1pPr>
          </a:lstStyle>
          <a:p>
            <a:fld id="{8A6D9EF2-1078-4CF1-AE32-B8E5CFC7CD9F}" type="slidenum">
              <a:rPr lang="en-US" smtClean="0"/>
              <a:pPr/>
              <a:t>‹#›</a:t>
            </a:fld>
            <a:endParaRPr lang="en-US" dirty="0"/>
          </a:p>
        </p:txBody>
      </p:sp>
      <p:cxnSp>
        <p:nvCxnSpPr>
          <p:cNvPr id="29" name="Straight Connector 28">
            <a:extLst>
              <a:ext uri="{FF2B5EF4-FFF2-40B4-BE49-F238E27FC236}">
                <a16:creationId xmlns:a16="http://schemas.microsoft.com/office/drawing/2014/main" id="{CDC06FB6-9874-420E-B319-40A5C2681775}"/>
              </a:ext>
            </a:extLst>
          </p:cNvPr>
          <p:cNvCxnSpPr/>
          <p:nvPr userDrawn="1"/>
        </p:nvCxnSpPr>
        <p:spPr>
          <a:xfrm>
            <a:off x="11179926" y="6542036"/>
            <a:ext cx="0" cy="174157"/>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Footer Placeholder 2">
            <a:extLst>
              <a:ext uri="{FF2B5EF4-FFF2-40B4-BE49-F238E27FC236}">
                <a16:creationId xmlns:a16="http://schemas.microsoft.com/office/drawing/2014/main" id="{AD693C53-2957-9C43-B57C-2AA2EFF28BA8}"/>
              </a:ext>
            </a:extLst>
          </p:cNvPr>
          <p:cNvSpPr>
            <a:spLocks noGrp="1"/>
          </p:cNvSpPr>
          <p:nvPr>
            <p:ph type="ftr" sz="quarter" idx="11"/>
          </p:nvPr>
        </p:nvSpPr>
        <p:spPr>
          <a:xfrm>
            <a:off x="1767508" y="6550738"/>
            <a:ext cx="6217920" cy="150207"/>
          </a:xfrm>
        </p:spPr>
        <p:txBody>
          <a:bodyPr/>
          <a:lstStyle>
            <a:lvl1pPr>
              <a:defRPr>
                <a:solidFill>
                  <a:schemeClr val="bg1"/>
                </a:solidFill>
              </a:defRPr>
            </a:lvl1pPr>
          </a:lstStyle>
          <a:p>
            <a:endParaRPr lang="en-US" dirty="0"/>
          </a:p>
        </p:txBody>
      </p:sp>
      <p:sp>
        <p:nvSpPr>
          <p:cNvPr id="31" name="Footer Placeholder 2">
            <a:extLst>
              <a:ext uri="{FF2B5EF4-FFF2-40B4-BE49-F238E27FC236}">
                <a16:creationId xmlns:a16="http://schemas.microsoft.com/office/drawing/2014/main" id="{65C68616-AA5B-3845-8098-8BC2F1295C66}"/>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bg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bg1"/>
                </a:solidFill>
                <a:latin typeface="Arial" panose="020B0604020202020204" pitchFamily="34" charset="0"/>
                <a:cs typeface="Arial" panose="020B0604020202020204" pitchFamily="34" charset="0"/>
              </a:rPr>
              <a:pPr algn="r"/>
              <a:t>8/17/2022</a:t>
            </a:fld>
            <a:r>
              <a:rPr lang="en-US" sz="900" b="0" i="0" dirty="0">
                <a:solidFill>
                  <a:schemeClr val="bg1"/>
                </a:solidFill>
                <a:latin typeface="Arial" panose="020B0604020202020204" pitchFamily="34" charset="0"/>
                <a:cs typeface="Arial" panose="020B0604020202020204" pitchFamily="34" charset="0"/>
              </a:rPr>
              <a:t> </a:t>
            </a:r>
          </a:p>
        </p:txBody>
      </p:sp>
      <p:pic>
        <p:nvPicPr>
          <p:cNvPr id="32" name="Picture 31">
            <a:extLst>
              <a:ext uri="{FF2B5EF4-FFF2-40B4-BE49-F238E27FC236}">
                <a16:creationId xmlns:a16="http://schemas.microsoft.com/office/drawing/2014/main" id="{268F1461-0C9D-244B-B57F-4349E5CA154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grpSp>
        <p:nvGrpSpPr>
          <p:cNvPr id="33" name="Group 4">
            <a:extLst>
              <a:ext uri="{FF2B5EF4-FFF2-40B4-BE49-F238E27FC236}">
                <a16:creationId xmlns:a16="http://schemas.microsoft.com/office/drawing/2014/main" id="{94AFD224-725D-124A-BA8B-A5AF21989CE2}"/>
              </a:ext>
            </a:extLst>
          </p:cNvPr>
          <p:cNvGrpSpPr>
            <a:grpSpLocks noChangeAspect="1"/>
          </p:cNvGrpSpPr>
          <p:nvPr userDrawn="1"/>
        </p:nvGrpSpPr>
        <p:grpSpPr bwMode="auto">
          <a:xfrm rot="16200000">
            <a:off x="3337957" y="-141044"/>
            <a:ext cx="5394164" cy="7498080"/>
            <a:chOff x="787" y="-2083"/>
            <a:chExt cx="6102" cy="8482"/>
          </a:xfrm>
        </p:grpSpPr>
        <p:sp>
          <p:nvSpPr>
            <p:cNvPr id="34" name="Freeform 5">
              <a:extLst>
                <a:ext uri="{FF2B5EF4-FFF2-40B4-BE49-F238E27FC236}">
                  <a16:creationId xmlns:a16="http://schemas.microsoft.com/office/drawing/2014/main" id="{D2DCFB87-6D19-354E-9D32-B96F89C911DF}"/>
                </a:ext>
              </a:extLst>
            </p:cNvPr>
            <p:cNvSpPr>
              <a:spLocks/>
            </p:cNvSpPr>
            <p:nvPr userDrawn="1"/>
          </p:nvSpPr>
          <p:spPr bwMode="auto">
            <a:xfrm>
              <a:off x="787" y="-2083"/>
              <a:ext cx="6102" cy="8482"/>
            </a:xfrm>
            <a:custGeom>
              <a:avLst/>
              <a:gdLst>
                <a:gd name="T0" fmla="*/ 2453 w 2580"/>
                <a:gd name="T1" fmla="*/ 3588 h 3588"/>
                <a:gd name="T2" fmla="*/ 127 w 2580"/>
                <a:gd name="T3" fmla="*/ 3588 h 3588"/>
                <a:gd name="T4" fmla="*/ 0 w 2580"/>
                <a:gd name="T5" fmla="*/ 3461 h 3588"/>
                <a:gd name="T6" fmla="*/ 0 w 2580"/>
                <a:gd name="T7" fmla="*/ 127 h 3588"/>
                <a:gd name="T8" fmla="*/ 127 w 2580"/>
                <a:gd name="T9" fmla="*/ 0 h 3588"/>
                <a:gd name="T10" fmla="*/ 2453 w 2580"/>
                <a:gd name="T11" fmla="*/ 0 h 3588"/>
                <a:gd name="T12" fmla="*/ 2580 w 2580"/>
                <a:gd name="T13" fmla="*/ 127 h 3588"/>
                <a:gd name="T14" fmla="*/ 2580 w 2580"/>
                <a:gd name="T15" fmla="*/ 3461 h 3588"/>
                <a:gd name="T16" fmla="*/ 2453 w 2580"/>
                <a:gd name="T17" fmla="*/ 3588 h 3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0" h="3588">
                  <a:moveTo>
                    <a:pt x="2453" y="3588"/>
                  </a:moveTo>
                  <a:cubicBezTo>
                    <a:pt x="127" y="3588"/>
                    <a:pt x="127" y="3588"/>
                    <a:pt x="127" y="3588"/>
                  </a:cubicBezTo>
                  <a:cubicBezTo>
                    <a:pt x="57" y="3588"/>
                    <a:pt x="0" y="3531"/>
                    <a:pt x="0" y="3461"/>
                  </a:cubicBezTo>
                  <a:cubicBezTo>
                    <a:pt x="0" y="127"/>
                    <a:pt x="0" y="127"/>
                    <a:pt x="0" y="127"/>
                  </a:cubicBezTo>
                  <a:cubicBezTo>
                    <a:pt x="0" y="57"/>
                    <a:pt x="57" y="0"/>
                    <a:pt x="127" y="0"/>
                  </a:cubicBezTo>
                  <a:cubicBezTo>
                    <a:pt x="2453" y="0"/>
                    <a:pt x="2453" y="0"/>
                    <a:pt x="2453" y="0"/>
                  </a:cubicBezTo>
                  <a:cubicBezTo>
                    <a:pt x="2523" y="0"/>
                    <a:pt x="2580" y="57"/>
                    <a:pt x="2580" y="127"/>
                  </a:cubicBezTo>
                  <a:cubicBezTo>
                    <a:pt x="2580" y="3461"/>
                    <a:pt x="2580" y="3461"/>
                    <a:pt x="2580" y="3461"/>
                  </a:cubicBezTo>
                  <a:cubicBezTo>
                    <a:pt x="2580" y="3531"/>
                    <a:pt x="2523" y="3588"/>
                    <a:pt x="2453" y="3588"/>
                  </a:cubicBezTo>
                  <a:close/>
                </a:path>
              </a:pathLst>
            </a:custGeom>
            <a:solidFill>
              <a:srgbClr val="FFFFFF"/>
            </a:solidFill>
            <a:ln>
              <a:noFill/>
            </a:ln>
            <a:effectLst>
              <a:outerShdw blurRad="635000" dist="177800" dir="5400000" sx="107000" sy="107000" algn="ctr" rotWithShape="0">
                <a:srgbClr val="000000">
                  <a:alpha val="10000"/>
                </a:srgb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Rectangle 6">
              <a:extLst>
                <a:ext uri="{FF2B5EF4-FFF2-40B4-BE49-F238E27FC236}">
                  <a16:creationId xmlns:a16="http://schemas.microsoft.com/office/drawing/2014/main" id="{ED16A792-2C99-0C43-996B-9B74F660E5A3}"/>
                </a:ext>
              </a:extLst>
            </p:cNvPr>
            <p:cNvSpPr>
              <a:spLocks noChangeArrowheads="1"/>
            </p:cNvSpPr>
            <p:nvPr userDrawn="1"/>
          </p:nvSpPr>
          <p:spPr bwMode="auto">
            <a:xfrm>
              <a:off x="1052" y="-1544"/>
              <a:ext cx="5572" cy="740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7">
              <a:extLst>
                <a:ext uri="{FF2B5EF4-FFF2-40B4-BE49-F238E27FC236}">
                  <a16:creationId xmlns:a16="http://schemas.microsoft.com/office/drawing/2014/main" id="{F52C1DC5-24B6-1B43-A165-6665E83E9FAB}"/>
                </a:ext>
              </a:extLst>
            </p:cNvPr>
            <p:cNvSpPr>
              <a:spLocks noChangeArrowheads="1"/>
            </p:cNvSpPr>
            <p:nvPr userDrawn="1"/>
          </p:nvSpPr>
          <p:spPr bwMode="auto">
            <a:xfrm>
              <a:off x="3781" y="-1852"/>
              <a:ext cx="113" cy="11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8">
              <a:extLst>
                <a:ext uri="{FF2B5EF4-FFF2-40B4-BE49-F238E27FC236}">
                  <a16:creationId xmlns:a16="http://schemas.microsoft.com/office/drawing/2014/main" id="{735A0E24-0F98-EE41-B54E-77938FB3895E}"/>
                </a:ext>
              </a:extLst>
            </p:cNvPr>
            <p:cNvSpPr>
              <a:spLocks noChangeArrowheads="1"/>
            </p:cNvSpPr>
            <p:nvPr userDrawn="1"/>
          </p:nvSpPr>
          <p:spPr bwMode="auto">
            <a:xfrm>
              <a:off x="3719" y="5992"/>
              <a:ext cx="237" cy="23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a:extLst>
                <a:ext uri="{FF2B5EF4-FFF2-40B4-BE49-F238E27FC236}">
                  <a16:creationId xmlns:a16="http://schemas.microsoft.com/office/drawing/2014/main" id="{059FD70B-2347-054C-9862-9C4E0D165F27}"/>
                </a:ext>
              </a:extLst>
            </p:cNvPr>
            <p:cNvSpPr>
              <a:spLocks noEditPoints="1"/>
            </p:cNvSpPr>
            <p:nvPr userDrawn="1"/>
          </p:nvSpPr>
          <p:spPr bwMode="auto">
            <a:xfrm>
              <a:off x="3696" y="5968"/>
              <a:ext cx="284" cy="284"/>
            </a:xfrm>
            <a:custGeom>
              <a:avLst/>
              <a:gdLst>
                <a:gd name="T0" fmla="*/ 60 w 120"/>
                <a:gd name="T1" fmla="*/ 20 h 120"/>
                <a:gd name="T2" fmla="*/ 100 w 120"/>
                <a:gd name="T3" fmla="*/ 60 h 120"/>
                <a:gd name="T4" fmla="*/ 60 w 120"/>
                <a:gd name="T5" fmla="*/ 100 h 120"/>
                <a:gd name="T6" fmla="*/ 20 w 120"/>
                <a:gd name="T7" fmla="*/ 60 h 120"/>
                <a:gd name="T8" fmla="*/ 60 w 120"/>
                <a:gd name="T9" fmla="*/ 20 h 120"/>
                <a:gd name="T10" fmla="*/ 60 w 120"/>
                <a:gd name="T11" fmla="*/ 0 h 120"/>
                <a:gd name="T12" fmla="*/ 0 w 120"/>
                <a:gd name="T13" fmla="*/ 60 h 120"/>
                <a:gd name="T14" fmla="*/ 60 w 120"/>
                <a:gd name="T15" fmla="*/ 120 h 120"/>
                <a:gd name="T16" fmla="*/ 120 w 120"/>
                <a:gd name="T17" fmla="*/ 60 h 120"/>
                <a:gd name="T18" fmla="*/ 60 w 120"/>
                <a:gd name="T1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20"/>
                  </a:moveTo>
                  <a:cubicBezTo>
                    <a:pt x="82" y="20"/>
                    <a:pt x="100" y="38"/>
                    <a:pt x="100" y="60"/>
                  </a:cubicBezTo>
                  <a:cubicBezTo>
                    <a:pt x="100" y="82"/>
                    <a:pt x="82" y="100"/>
                    <a:pt x="60" y="100"/>
                  </a:cubicBezTo>
                  <a:cubicBezTo>
                    <a:pt x="38" y="100"/>
                    <a:pt x="20" y="82"/>
                    <a:pt x="20" y="60"/>
                  </a:cubicBezTo>
                  <a:cubicBezTo>
                    <a:pt x="20" y="38"/>
                    <a:pt x="38" y="20"/>
                    <a:pt x="60" y="20"/>
                  </a:cubicBezTo>
                  <a:moveTo>
                    <a:pt x="60" y="0"/>
                  </a:moveTo>
                  <a:cubicBezTo>
                    <a:pt x="27" y="0"/>
                    <a:pt x="0" y="27"/>
                    <a:pt x="0" y="60"/>
                  </a:cubicBezTo>
                  <a:cubicBezTo>
                    <a:pt x="0" y="93"/>
                    <a:pt x="27" y="120"/>
                    <a:pt x="60" y="120"/>
                  </a:cubicBezTo>
                  <a:cubicBezTo>
                    <a:pt x="93" y="120"/>
                    <a:pt x="120" y="93"/>
                    <a:pt x="120" y="60"/>
                  </a:cubicBezTo>
                  <a:cubicBezTo>
                    <a:pt x="120" y="27"/>
                    <a:pt x="93" y="0"/>
                    <a:pt x="60"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 name="Picture Placeholder 4">
            <a:extLst>
              <a:ext uri="{FF2B5EF4-FFF2-40B4-BE49-F238E27FC236}">
                <a16:creationId xmlns:a16="http://schemas.microsoft.com/office/drawing/2014/main" id="{86EEDFB2-CA23-4944-80E3-B538E7943D14}"/>
              </a:ext>
            </a:extLst>
          </p:cNvPr>
          <p:cNvSpPr>
            <a:spLocks noGrp="1" noChangeAspect="1"/>
          </p:cNvSpPr>
          <p:nvPr>
            <p:ph type="pic" sz="quarter" idx="13"/>
          </p:nvPr>
        </p:nvSpPr>
        <p:spPr>
          <a:xfrm>
            <a:off x="2762473" y="1145174"/>
            <a:ext cx="6545131" cy="4925644"/>
          </a:xfrm>
        </p:spPr>
        <p:txBody>
          <a:bodyPr/>
          <a:lstStyle/>
          <a:p>
            <a:endParaRPr lang="en-US" dirty="0"/>
          </a:p>
        </p:txBody>
      </p:sp>
    </p:spTree>
    <p:extLst>
      <p:ext uri="{BB962C8B-B14F-4D97-AF65-F5344CB8AC3E}">
        <p14:creationId xmlns:p14="http://schemas.microsoft.com/office/powerpoint/2010/main" val="7653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ptop Screenshot">
    <p:bg>
      <p:bgPr>
        <a:solidFill>
          <a:schemeClr val="tx2"/>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B683ECC-6379-42CE-A8BE-3D94053A9695}"/>
              </a:ext>
            </a:extLst>
          </p:cNvPr>
          <p:cNvSpPr>
            <a:spLocks noGrp="1"/>
          </p:cNvSpPr>
          <p:nvPr userDrawn="1">
            <p:ph type="sldNum" sz="quarter" idx="12"/>
          </p:nvPr>
        </p:nvSpPr>
        <p:spPr/>
        <p:txBody>
          <a:bodyPr/>
          <a:lstStyle>
            <a:lvl1pPr>
              <a:defRPr>
                <a:solidFill>
                  <a:schemeClr val="bg1"/>
                </a:solidFill>
              </a:defRPr>
            </a:lvl1pPr>
          </a:lstStyle>
          <a:p>
            <a:fld id="{8A6D9EF2-1078-4CF1-AE32-B8E5CFC7CD9F}" type="slidenum">
              <a:rPr lang="en-US" smtClean="0"/>
              <a:pPr/>
              <a:t>‹#›</a:t>
            </a:fld>
            <a:endParaRPr lang="en-US" dirty="0"/>
          </a:p>
        </p:txBody>
      </p:sp>
      <p:cxnSp>
        <p:nvCxnSpPr>
          <p:cNvPr id="21" name="Straight Connector 20">
            <a:extLst>
              <a:ext uri="{FF2B5EF4-FFF2-40B4-BE49-F238E27FC236}">
                <a16:creationId xmlns:a16="http://schemas.microsoft.com/office/drawing/2014/main" id="{6D650A81-111E-48E6-B688-1109544B7485}"/>
              </a:ext>
            </a:extLst>
          </p:cNvPr>
          <p:cNvCxnSpPr/>
          <p:nvPr userDrawn="1"/>
        </p:nvCxnSpPr>
        <p:spPr>
          <a:xfrm>
            <a:off x="11179926" y="6542036"/>
            <a:ext cx="0" cy="174157"/>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Footer Placeholder 2">
            <a:extLst>
              <a:ext uri="{FF2B5EF4-FFF2-40B4-BE49-F238E27FC236}">
                <a16:creationId xmlns:a16="http://schemas.microsoft.com/office/drawing/2014/main" id="{F8277CBB-2AEB-3E4C-9DFA-9979A2B10645}"/>
              </a:ext>
            </a:extLst>
          </p:cNvPr>
          <p:cNvSpPr>
            <a:spLocks noGrp="1"/>
          </p:cNvSpPr>
          <p:nvPr>
            <p:ph type="ftr" sz="quarter" idx="11"/>
          </p:nvPr>
        </p:nvSpPr>
        <p:spPr>
          <a:xfrm>
            <a:off x="1767508" y="6550738"/>
            <a:ext cx="6217920" cy="150207"/>
          </a:xfrm>
        </p:spPr>
        <p:txBody>
          <a:bodyPr/>
          <a:lstStyle>
            <a:lvl1pPr>
              <a:defRPr>
                <a:solidFill>
                  <a:schemeClr val="bg1"/>
                </a:solidFill>
              </a:defRPr>
            </a:lvl1pPr>
          </a:lstStyle>
          <a:p>
            <a:endParaRPr lang="en-US" dirty="0"/>
          </a:p>
        </p:txBody>
      </p:sp>
      <p:sp>
        <p:nvSpPr>
          <p:cNvPr id="23" name="Footer Placeholder 2">
            <a:extLst>
              <a:ext uri="{FF2B5EF4-FFF2-40B4-BE49-F238E27FC236}">
                <a16:creationId xmlns:a16="http://schemas.microsoft.com/office/drawing/2014/main" id="{D6C0C2E8-899F-1549-AEDB-050B0828B5DF}"/>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bg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bg1"/>
                </a:solidFill>
                <a:latin typeface="Arial" panose="020B0604020202020204" pitchFamily="34" charset="0"/>
                <a:cs typeface="Arial" panose="020B0604020202020204" pitchFamily="34" charset="0"/>
              </a:rPr>
              <a:pPr algn="r"/>
              <a:t>8/17/2022</a:t>
            </a:fld>
            <a:r>
              <a:rPr lang="en-US" sz="900" b="0" i="0" dirty="0">
                <a:solidFill>
                  <a:schemeClr val="bg1"/>
                </a:solidFill>
                <a:latin typeface="Arial" panose="020B0604020202020204" pitchFamily="34" charset="0"/>
                <a:cs typeface="Arial" panose="020B0604020202020204" pitchFamily="34" charset="0"/>
              </a:rPr>
              <a:t> </a:t>
            </a:r>
          </a:p>
        </p:txBody>
      </p:sp>
      <p:pic>
        <p:nvPicPr>
          <p:cNvPr id="24" name="Picture 23">
            <a:extLst>
              <a:ext uri="{FF2B5EF4-FFF2-40B4-BE49-F238E27FC236}">
                <a16:creationId xmlns:a16="http://schemas.microsoft.com/office/drawing/2014/main" id="{CAD40E6D-ED6A-F74C-B4E4-B62FEBDFA8A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
        <p:nvSpPr>
          <p:cNvPr id="25" name="Freeform 24">
            <a:extLst>
              <a:ext uri="{FF2B5EF4-FFF2-40B4-BE49-F238E27FC236}">
                <a16:creationId xmlns:a16="http://schemas.microsoft.com/office/drawing/2014/main" id="{714626CD-4221-EF49-B90B-50647F568882}"/>
              </a:ext>
            </a:extLst>
          </p:cNvPr>
          <p:cNvSpPr>
            <a:spLocks noChangeAspect="1"/>
          </p:cNvSpPr>
          <p:nvPr userDrawn="1"/>
        </p:nvSpPr>
        <p:spPr bwMode="auto">
          <a:xfrm>
            <a:off x="1127624" y="798526"/>
            <a:ext cx="9668193" cy="5486400"/>
          </a:xfrm>
          <a:custGeom>
            <a:avLst/>
            <a:gdLst>
              <a:gd name="connsiteX0" fmla="*/ 1245490 w 9936754"/>
              <a:gd name="connsiteY0" fmla="*/ 0 h 5638800"/>
              <a:gd name="connsiteX1" fmla="*/ 8691517 w 9936754"/>
              <a:gd name="connsiteY1" fmla="*/ 0 h 5638800"/>
              <a:gd name="connsiteX2" fmla="*/ 8992317 w 9936754"/>
              <a:gd name="connsiteY2" fmla="*/ 302604 h 5638800"/>
              <a:gd name="connsiteX3" fmla="*/ 8992317 w 9936754"/>
              <a:gd name="connsiteY3" fmla="*/ 5019285 h 5638800"/>
              <a:gd name="connsiteX4" fmla="*/ 8967661 w 9936754"/>
              <a:gd name="connsiteY4" fmla="*/ 5287353 h 5638800"/>
              <a:gd name="connsiteX5" fmla="*/ 8946909 w 9936754"/>
              <a:gd name="connsiteY5" fmla="*/ 5341419 h 5638800"/>
              <a:gd name="connsiteX6" fmla="*/ 8910236 w 9936754"/>
              <a:gd name="connsiteY6" fmla="*/ 5384261 h 5638800"/>
              <a:gd name="connsiteX7" fmla="*/ 9073040 w 9936754"/>
              <a:gd name="connsiteY7" fmla="*/ 5384261 h 5638800"/>
              <a:gd name="connsiteX8" fmla="*/ 9898953 w 9936754"/>
              <a:gd name="connsiteY8" fmla="*/ 5384261 h 5638800"/>
              <a:gd name="connsiteX9" fmla="*/ 9936754 w 9936754"/>
              <a:gd name="connsiteY9" fmla="*/ 5422032 h 5638800"/>
              <a:gd name="connsiteX10" fmla="*/ 9936754 w 9936754"/>
              <a:gd name="connsiteY10" fmla="*/ 5510710 h 5638800"/>
              <a:gd name="connsiteX11" fmla="*/ 9808559 w 9936754"/>
              <a:gd name="connsiteY11" fmla="*/ 5638800 h 5638800"/>
              <a:gd name="connsiteX12" fmla="*/ 128195 w 9936754"/>
              <a:gd name="connsiteY12" fmla="*/ 5638800 h 5638800"/>
              <a:gd name="connsiteX13" fmla="*/ 0 w 9936754"/>
              <a:gd name="connsiteY13" fmla="*/ 5510710 h 5638800"/>
              <a:gd name="connsiteX14" fmla="*/ 0 w 9936754"/>
              <a:gd name="connsiteY14" fmla="*/ 5422032 h 5638800"/>
              <a:gd name="connsiteX15" fmla="*/ 36158 w 9936754"/>
              <a:gd name="connsiteY15" fmla="*/ 5384261 h 5638800"/>
              <a:gd name="connsiteX16" fmla="*/ 932201 w 9936754"/>
              <a:gd name="connsiteY16" fmla="*/ 5384261 h 5638800"/>
              <a:gd name="connsiteX17" fmla="*/ 1027321 w 9936754"/>
              <a:gd name="connsiteY17" fmla="*/ 5384261 h 5638800"/>
              <a:gd name="connsiteX18" fmla="*/ 992974 w 9936754"/>
              <a:gd name="connsiteY18" fmla="*/ 5347380 h 5638800"/>
              <a:gd name="connsiteX19" fmla="*/ 969346 w 9936754"/>
              <a:gd name="connsiteY19" fmla="*/ 5287353 h 5638800"/>
              <a:gd name="connsiteX20" fmla="*/ 949621 w 9936754"/>
              <a:gd name="connsiteY20" fmla="*/ 5154141 h 5638800"/>
              <a:gd name="connsiteX21" fmla="*/ 943046 w 9936754"/>
              <a:gd name="connsiteY21" fmla="*/ 5019285 h 5638800"/>
              <a:gd name="connsiteX22" fmla="*/ 943046 w 9936754"/>
              <a:gd name="connsiteY22" fmla="*/ 302604 h 5638800"/>
              <a:gd name="connsiteX23" fmla="*/ 1245490 w 9936754"/>
              <a:gd name="connsiteY23" fmla="*/ 0 h 56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36754" h="5638800">
                <a:moveTo>
                  <a:pt x="1245490" y="0"/>
                </a:moveTo>
                <a:cubicBezTo>
                  <a:pt x="8691517" y="0"/>
                  <a:pt x="8691517" y="0"/>
                  <a:pt x="8691517" y="0"/>
                </a:cubicBezTo>
                <a:cubicBezTo>
                  <a:pt x="8857533" y="0"/>
                  <a:pt x="8992317" y="134856"/>
                  <a:pt x="8992317" y="302604"/>
                </a:cubicBezTo>
                <a:cubicBezTo>
                  <a:pt x="8992317" y="5019285"/>
                  <a:pt x="8992317" y="5019285"/>
                  <a:pt x="8992317" y="5019285"/>
                </a:cubicBezTo>
                <a:cubicBezTo>
                  <a:pt x="8992317" y="5109737"/>
                  <a:pt x="8984099" y="5198545"/>
                  <a:pt x="8967661" y="5287353"/>
                </a:cubicBezTo>
                <a:cubicBezTo>
                  <a:pt x="8963552" y="5307088"/>
                  <a:pt x="8956566" y="5325179"/>
                  <a:pt x="8946909" y="5341419"/>
                </a:cubicBezTo>
                <a:lnTo>
                  <a:pt x="8910236" y="5384261"/>
                </a:lnTo>
                <a:lnTo>
                  <a:pt x="9073040" y="5384261"/>
                </a:lnTo>
                <a:cubicBezTo>
                  <a:pt x="9898953" y="5384261"/>
                  <a:pt x="9898953" y="5384261"/>
                  <a:pt x="9898953" y="5384261"/>
                </a:cubicBezTo>
                <a:cubicBezTo>
                  <a:pt x="9920319" y="5384261"/>
                  <a:pt x="9936754" y="5400683"/>
                  <a:pt x="9936754" y="5422032"/>
                </a:cubicBezTo>
                <a:cubicBezTo>
                  <a:pt x="9936754" y="5510710"/>
                  <a:pt x="9936754" y="5510710"/>
                  <a:pt x="9936754" y="5510710"/>
                </a:cubicBezTo>
                <a:cubicBezTo>
                  <a:pt x="9936754" y="5581324"/>
                  <a:pt x="9879231" y="5638800"/>
                  <a:pt x="9808559" y="5638800"/>
                </a:cubicBezTo>
                <a:cubicBezTo>
                  <a:pt x="128195" y="5638800"/>
                  <a:pt x="128195" y="5638800"/>
                  <a:pt x="128195" y="5638800"/>
                </a:cubicBezTo>
                <a:cubicBezTo>
                  <a:pt x="57524" y="5638800"/>
                  <a:pt x="0" y="5581324"/>
                  <a:pt x="0" y="5510710"/>
                </a:cubicBezTo>
                <a:cubicBezTo>
                  <a:pt x="0" y="5422032"/>
                  <a:pt x="0" y="5422032"/>
                  <a:pt x="0" y="5422032"/>
                </a:cubicBezTo>
                <a:cubicBezTo>
                  <a:pt x="0" y="5400683"/>
                  <a:pt x="16435" y="5384261"/>
                  <a:pt x="36158" y="5384261"/>
                </a:cubicBezTo>
                <a:cubicBezTo>
                  <a:pt x="344370" y="5384261"/>
                  <a:pt x="642951" y="5384261"/>
                  <a:pt x="932201" y="5384261"/>
                </a:cubicBezTo>
                <a:lnTo>
                  <a:pt x="1027321" y="5384261"/>
                </a:lnTo>
                <a:lnTo>
                  <a:pt x="992974" y="5347380"/>
                </a:lnTo>
                <a:cubicBezTo>
                  <a:pt x="981674" y="5329701"/>
                  <a:pt x="973455" y="5309555"/>
                  <a:pt x="969346" y="5287353"/>
                </a:cubicBezTo>
                <a:cubicBezTo>
                  <a:pt x="959483" y="5242949"/>
                  <a:pt x="954552" y="5198545"/>
                  <a:pt x="949621" y="5154141"/>
                </a:cubicBezTo>
                <a:cubicBezTo>
                  <a:pt x="944690" y="5109737"/>
                  <a:pt x="943046" y="5063689"/>
                  <a:pt x="943046" y="5019285"/>
                </a:cubicBezTo>
                <a:cubicBezTo>
                  <a:pt x="943046" y="302604"/>
                  <a:pt x="943046" y="302604"/>
                  <a:pt x="943046" y="302604"/>
                </a:cubicBezTo>
                <a:cubicBezTo>
                  <a:pt x="943046" y="134856"/>
                  <a:pt x="1077831" y="0"/>
                  <a:pt x="1245490" y="0"/>
                </a:cubicBezTo>
                <a:close/>
              </a:path>
            </a:pathLst>
          </a:custGeom>
          <a:solidFill>
            <a:srgbClr val="FFFFFF"/>
          </a:solidFill>
          <a:ln>
            <a:noFill/>
          </a:ln>
          <a:effectLst>
            <a:outerShdw blurRad="635000" dist="177800" dir="5400000" sx="107000" sy="107000" algn="ctr" rotWithShape="0">
              <a:srgbClr val="000000">
                <a:alpha val="10000"/>
              </a:srgb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26" name="Freeform 23">
            <a:extLst>
              <a:ext uri="{FF2B5EF4-FFF2-40B4-BE49-F238E27FC236}">
                <a16:creationId xmlns:a16="http://schemas.microsoft.com/office/drawing/2014/main" id="{70BEC7C5-6CB9-FF40-B187-29DC2F51110E}"/>
              </a:ext>
            </a:extLst>
          </p:cNvPr>
          <p:cNvSpPr>
            <a:spLocks/>
          </p:cNvSpPr>
          <p:nvPr userDrawn="1"/>
        </p:nvSpPr>
        <p:spPr bwMode="auto">
          <a:xfrm>
            <a:off x="5264867" y="6174448"/>
            <a:ext cx="1393705" cy="111969"/>
          </a:xfrm>
          <a:custGeom>
            <a:avLst/>
            <a:gdLst>
              <a:gd name="T0" fmla="*/ 848 w 848"/>
              <a:gd name="T1" fmla="*/ 0 h 68"/>
              <a:gd name="T2" fmla="*/ 775 w 848"/>
              <a:gd name="T3" fmla="*/ 68 h 68"/>
              <a:gd name="T4" fmla="*/ 73 w 848"/>
              <a:gd name="T5" fmla="*/ 68 h 68"/>
              <a:gd name="T6" fmla="*/ 0 w 848"/>
              <a:gd name="T7" fmla="*/ 0 h 68"/>
              <a:gd name="T8" fmla="*/ 848 w 848"/>
              <a:gd name="T9" fmla="*/ 0 h 68"/>
            </a:gdLst>
            <a:ahLst/>
            <a:cxnLst>
              <a:cxn ang="0">
                <a:pos x="T0" y="T1"/>
              </a:cxn>
              <a:cxn ang="0">
                <a:pos x="T2" y="T3"/>
              </a:cxn>
              <a:cxn ang="0">
                <a:pos x="T4" y="T5"/>
              </a:cxn>
              <a:cxn ang="0">
                <a:pos x="T6" y="T7"/>
              </a:cxn>
              <a:cxn ang="0">
                <a:pos x="T8" y="T9"/>
              </a:cxn>
            </a:cxnLst>
            <a:rect l="0" t="0" r="r" b="b"/>
            <a:pathLst>
              <a:path w="848" h="68">
                <a:moveTo>
                  <a:pt x="848" y="0"/>
                </a:moveTo>
                <a:cubicBezTo>
                  <a:pt x="845" y="38"/>
                  <a:pt x="813" y="68"/>
                  <a:pt x="775" y="68"/>
                </a:cubicBezTo>
                <a:cubicBezTo>
                  <a:pt x="73" y="68"/>
                  <a:pt x="73" y="68"/>
                  <a:pt x="73" y="68"/>
                </a:cubicBezTo>
                <a:cubicBezTo>
                  <a:pt x="34" y="68"/>
                  <a:pt x="2" y="38"/>
                  <a:pt x="0" y="0"/>
                </a:cubicBezTo>
                <a:lnTo>
                  <a:pt x="84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24">
            <a:extLst>
              <a:ext uri="{FF2B5EF4-FFF2-40B4-BE49-F238E27FC236}">
                <a16:creationId xmlns:a16="http://schemas.microsoft.com/office/drawing/2014/main" id="{1BECBECF-827E-084D-8E73-F243DF592012}"/>
              </a:ext>
            </a:extLst>
          </p:cNvPr>
          <p:cNvSpPr>
            <a:spLocks noChangeArrowheads="1"/>
          </p:cNvSpPr>
          <p:nvPr userDrawn="1"/>
        </p:nvSpPr>
        <p:spPr bwMode="auto">
          <a:xfrm>
            <a:off x="5921631" y="933446"/>
            <a:ext cx="90410" cy="9041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5">
            <a:extLst>
              <a:ext uri="{FF2B5EF4-FFF2-40B4-BE49-F238E27FC236}">
                <a16:creationId xmlns:a16="http://schemas.microsoft.com/office/drawing/2014/main" id="{2BF31444-62C0-0E45-8AFA-8DA448FBB349}"/>
              </a:ext>
            </a:extLst>
          </p:cNvPr>
          <p:cNvSpPr>
            <a:spLocks noChangeAspect="1" noChangeArrowheads="1"/>
          </p:cNvSpPr>
          <p:nvPr userDrawn="1"/>
        </p:nvSpPr>
        <p:spPr bwMode="auto">
          <a:xfrm>
            <a:off x="2310604" y="1112875"/>
            <a:ext cx="7313859" cy="45720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Picture Placeholder 4">
            <a:extLst>
              <a:ext uri="{FF2B5EF4-FFF2-40B4-BE49-F238E27FC236}">
                <a16:creationId xmlns:a16="http://schemas.microsoft.com/office/drawing/2014/main" id="{2D2F91C6-961C-8D48-A4E1-4D607D270D7B}"/>
              </a:ext>
            </a:extLst>
          </p:cNvPr>
          <p:cNvSpPr>
            <a:spLocks noGrp="1" noChangeAspect="1"/>
          </p:cNvSpPr>
          <p:nvPr>
            <p:ph type="pic" sz="quarter" idx="13"/>
          </p:nvPr>
        </p:nvSpPr>
        <p:spPr>
          <a:xfrm>
            <a:off x="2310606" y="1109892"/>
            <a:ext cx="7313857" cy="4572000"/>
          </a:xfrm>
        </p:spPr>
        <p:txBody>
          <a:bodyPr/>
          <a:lstStyle/>
          <a:p>
            <a:endParaRPr lang="en-US" dirty="0"/>
          </a:p>
        </p:txBody>
      </p:sp>
    </p:spTree>
    <p:extLst>
      <p:ext uri="{BB962C8B-B14F-4D97-AF65-F5344CB8AC3E}">
        <p14:creationId xmlns:p14="http://schemas.microsoft.com/office/powerpoint/2010/main" val="3068146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Multi Device">
    <p:bg>
      <p:bgPr>
        <a:solidFill>
          <a:schemeClr val="tx2"/>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B683ECC-6379-42CE-A8BE-3D94053A9695}"/>
              </a:ext>
            </a:extLst>
          </p:cNvPr>
          <p:cNvSpPr>
            <a:spLocks noGrp="1"/>
          </p:cNvSpPr>
          <p:nvPr userDrawn="1">
            <p:ph type="sldNum" sz="quarter" idx="12"/>
          </p:nvPr>
        </p:nvSpPr>
        <p:spPr/>
        <p:txBody>
          <a:bodyPr/>
          <a:lstStyle>
            <a:lvl1pPr>
              <a:defRPr>
                <a:solidFill>
                  <a:schemeClr val="bg1"/>
                </a:solidFill>
              </a:defRPr>
            </a:lvl1pPr>
          </a:lstStyle>
          <a:p>
            <a:fld id="{8A6D9EF2-1078-4CF1-AE32-B8E5CFC7CD9F}" type="slidenum">
              <a:rPr lang="en-US" smtClean="0"/>
              <a:pPr/>
              <a:t>‹#›</a:t>
            </a:fld>
            <a:endParaRPr lang="en-US" dirty="0"/>
          </a:p>
        </p:txBody>
      </p:sp>
      <p:cxnSp>
        <p:nvCxnSpPr>
          <p:cNvPr id="21" name="Straight Connector 20">
            <a:extLst>
              <a:ext uri="{FF2B5EF4-FFF2-40B4-BE49-F238E27FC236}">
                <a16:creationId xmlns:a16="http://schemas.microsoft.com/office/drawing/2014/main" id="{6D650A81-111E-48E6-B688-1109544B7485}"/>
              </a:ext>
            </a:extLst>
          </p:cNvPr>
          <p:cNvCxnSpPr/>
          <p:nvPr userDrawn="1"/>
        </p:nvCxnSpPr>
        <p:spPr>
          <a:xfrm>
            <a:off x="11179926" y="6542036"/>
            <a:ext cx="0" cy="174157"/>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Footer Placeholder 2">
            <a:extLst>
              <a:ext uri="{FF2B5EF4-FFF2-40B4-BE49-F238E27FC236}">
                <a16:creationId xmlns:a16="http://schemas.microsoft.com/office/drawing/2014/main" id="{F8277CBB-2AEB-3E4C-9DFA-9979A2B10645}"/>
              </a:ext>
            </a:extLst>
          </p:cNvPr>
          <p:cNvSpPr>
            <a:spLocks noGrp="1"/>
          </p:cNvSpPr>
          <p:nvPr>
            <p:ph type="ftr" sz="quarter" idx="11"/>
          </p:nvPr>
        </p:nvSpPr>
        <p:spPr>
          <a:xfrm>
            <a:off x="1767508" y="6550738"/>
            <a:ext cx="6217920" cy="150207"/>
          </a:xfrm>
        </p:spPr>
        <p:txBody>
          <a:bodyPr/>
          <a:lstStyle>
            <a:lvl1pPr>
              <a:defRPr>
                <a:solidFill>
                  <a:schemeClr val="bg1"/>
                </a:solidFill>
              </a:defRPr>
            </a:lvl1pPr>
          </a:lstStyle>
          <a:p>
            <a:endParaRPr lang="en-US" dirty="0"/>
          </a:p>
        </p:txBody>
      </p:sp>
      <p:sp>
        <p:nvSpPr>
          <p:cNvPr id="23" name="Footer Placeholder 2">
            <a:extLst>
              <a:ext uri="{FF2B5EF4-FFF2-40B4-BE49-F238E27FC236}">
                <a16:creationId xmlns:a16="http://schemas.microsoft.com/office/drawing/2014/main" id="{D6C0C2E8-899F-1549-AEDB-050B0828B5DF}"/>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bg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bg1"/>
                </a:solidFill>
                <a:latin typeface="Arial" panose="020B0604020202020204" pitchFamily="34" charset="0"/>
                <a:cs typeface="Arial" panose="020B0604020202020204" pitchFamily="34" charset="0"/>
              </a:rPr>
              <a:pPr algn="r"/>
              <a:t>8/17/2022</a:t>
            </a:fld>
            <a:r>
              <a:rPr lang="en-US" sz="900" b="0" i="0" dirty="0">
                <a:solidFill>
                  <a:schemeClr val="bg1"/>
                </a:solidFill>
                <a:latin typeface="Arial" panose="020B0604020202020204" pitchFamily="34" charset="0"/>
                <a:cs typeface="Arial" panose="020B0604020202020204" pitchFamily="34" charset="0"/>
              </a:rPr>
              <a:t> </a:t>
            </a:r>
          </a:p>
        </p:txBody>
      </p:sp>
      <p:pic>
        <p:nvPicPr>
          <p:cNvPr id="24" name="Picture 23">
            <a:extLst>
              <a:ext uri="{FF2B5EF4-FFF2-40B4-BE49-F238E27FC236}">
                <a16:creationId xmlns:a16="http://schemas.microsoft.com/office/drawing/2014/main" id="{CAD40E6D-ED6A-F74C-B4E4-B62FEBDFA8A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extLst>
      <p:ext uri="{BB962C8B-B14F-4D97-AF65-F5344CB8AC3E}">
        <p14:creationId xmlns:p14="http://schemas.microsoft.com/office/powerpoint/2010/main" val="98234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hart/Tab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D925978-8273-48C6-A25B-7EB52A7F155B}"/>
              </a:ext>
            </a:extLst>
          </p:cNvPr>
          <p:cNvSpPr/>
          <p:nvPr userDrawn="1">
            <p:custDataLst>
              <p:tags r:id="rId1"/>
            </p:custDataLst>
          </p:nvPr>
        </p:nvSpPr>
        <p:spPr>
          <a:xfrm>
            <a:off x="670969" y="1575926"/>
            <a:ext cx="10850062" cy="4725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Content Placeholder 2">
            <a:extLst>
              <a:ext uri="{FF2B5EF4-FFF2-40B4-BE49-F238E27FC236}">
                <a16:creationId xmlns:a16="http://schemas.microsoft.com/office/drawing/2014/main" id="{C4AB06FA-51C3-3140-92AD-2903EF284BB8}"/>
              </a:ext>
            </a:extLst>
          </p:cNvPr>
          <p:cNvSpPr>
            <a:spLocks noGrp="1"/>
          </p:cNvSpPr>
          <p:nvPr>
            <p:ph idx="16"/>
          </p:nvPr>
        </p:nvSpPr>
        <p:spPr>
          <a:xfrm>
            <a:off x="1215189" y="1933266"/>
            <a:ext cx="9697115" cy="4001576"/>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5" name="Footer Placeholder 4">
            <a:extLst>
              <a:ext uri="{FF2B5EF4-FFF2-40B4-BE49-F238E27FC236}">
                <a16:creationId xmlns:a16="http://schemas.microsoft.com/office/drawing/2014/main" id="{BAA4A97C-A963-473D-BEDB-A4BCBEF54C9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E99AE4-B295-4E1B-8259-FB84F048B2A0}"/>
              </a:ext>
            </a:extLst>
          </p:cNvPr>
          <p:cNvSpPr>
            <a:spLocks noGrp="1"/>
          </p:cNvSpPr>
          <p:nvPr>
            <p:ph type="sldNum" sz="quarter" idx="12"/>
          </p:nvPr>
        </p:nvSpPr>
        <p:spPr/>
        <p:txBody>
          <a:bodyPr/>
          <a:lstStyle/>
          <a:p>
            <a:fld id="{8A6D9EF2-1078-4CF1-AE32-B8E5CFC7CD9F}" type="slidenum">
              <a:rPr lang="en-US" smtClean="0"/>
              <a:pPr/>
              <a:t>‹#›</a:t>
            </a:fld>
            <a:endParaRPr lang="en-US" dirty="0"/>
          </a:p>
        </p:txBody>
      </p:sp>
      <p:sp>
        <p:nvSpPr>
          <p:cNvPr id="13" name="Title 12">
            <a:extLst>
              <a:ext uri="{FF2B5EF4-FFF2-40B4-BE49-F238E27FC236}">
                <a16:creationId xmlns:a16="http://schemas.microsoft.com/office/drawing/2014/main" id="{0FD3D568-5372-4459-AFA8-8CB404515EBD}"/>
              </a:ext>
            </a:extLst>
          </p:cNvPr>
          <p:cNvSpPr>
            <a:spLocks noGrp="1"/>
          </p:cNvSpPr>
          <p:nvPr>
            <p:ph type="title"/>
          </p:nvPr>
        </p:nvSpPr>
        <p:spPr/>
        <p:txBody>
          <a:bodyPr/>
          <a:lstStyle/>
          <a:p>
            <a:r>
              <a:rPr lang="en-US" dirty="0"/>
              <a:t>Click to edit Master title style</a:t>
            </a:r>
          </a:p>
        </p:txBody>
      </p:sp>
      <p:grpSp>
        <p:nvGrpSpPr>
          <p:cNvPr id="68" name="Group 67">
            <a:extLst>
              <a:ext uri="{FF2B5EF4-FFF2-40B4-BE49-F238E27FC236}">
                <a16:creationId xmlns:a16="http://schemas.microsoft.com/office/drawing/2014/main" id="{DC333730-8F40-4E4F-8047-55F176C90137}"/>
              </a:ext>
            </a:extLst>
          </p:cNvPr>
          <p:cNvGrpSpPr/>
          <p:nvPr userDrawn="1"/>
        </p:nvGrpSpPr>
        <p:grpSpPr>
          <a:xfrm>
            <a:off x="685800" y="1315691"/>
            <a:ext cx="10820400" cy="180189"/>
            <a:chOff x="685800" y="1230120"/>
            <a:chExt cx="10820400" cy="180189"/>
          </a:xfrm>
        </p:grpSpPr>
        <p:pic>
          <p:nvPicPr>
            <p:cNvPr id="69" name="Picture 68">
              <a:extLst>
                <a:ext uri="{FF2B5EF4-FFF2-40B4-BE49-F238E27FC236}">
                  <a16:creationId xmlns:a16="http://schemas.microsoft.com/office/drawing/2014/main" id="{91B54121-BAEB-438D-B3A8-BAF8650298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70" name="Straight Connector 69">
              <a:extLst>
                <a:ext uri="{FF2B5EF4-FFF2-40B4-BE49-F238E27FC236}">
                  <a16:creationId xmlns:a16="http://schemas.microsoft.com/office/drawing/2014/main" id="{C7AA02E8-217F-4344-BAC6-9EEC5F526429}"/>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83E48C5D-82E8-2B43-8EDD-E407B49B9B4A}"/>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674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Chart/Tab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D925978-8273-48C6-A25B-7EB52A7F155B}"/>
              </a:ext>
            </a:extLst>
          </p:cNvPr>
          <p:cNvSpPr/>
          <p:nvPr userDrawn="1">
            <p:custDataLst>
              <p:tags r:id="rId1"/>
            </p:custDataLst>
          </p:nvPr>
        </p:nvSpPr>
        <p:spPr>
          <a:xfrm>
            <a:off x="670969" y="1781710"/>
            <a:ext cx="10850062" cy="4527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Content Placeholder 2">
            <a:extLst>
              <a:ext uri="{FF2B5EF4-FFF2-40B4-BE49-F238E27FC236}">
                <a16:creationId xmlns:a16="http://schemas.microsoft.com/office/drawing/2014/main" id="{7C92B2FF-5E96-7D49-8DDE-8DE7A475FEF8}"/>
              </a:ext>
            </a:extLst>
          </p:cNvPr>
          <p:cNvSpPr>
            <a:spLocks noGrp="1"/>
          </p:cNvSpPr>
          <p:nvPr>
            <p:ph idx="16"/>
          </p:nvPr>
        </p:nvSpPr>
        <p:spPr>
          <a:xfrm>
            <a:off x="1215189" y="2044094"/>
            <a:ext cx="9697115" cy="4001576"/>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5" name="Footer Placeholder 4">
            <a:extLst>
              <a:ext uri="{FF2B5EF4-FFF2-40B4-BE49-F238E27FC236}">
                <a16:creationId xmlns:a16="http://schemas.microsoft.com/office/drawing/2014/main" id="{BAA4A97C-A963-473D-BEDB-A4BCBEF54C9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E99AE4-B295-4E1B-8259-FB84F048B2A0}"/>
              </a:ext>
            </a:extLst>
          </p:cNvPr>
          <p:cNvSpPr>
            <a:spLocks noGrp="1"/>
          </p:cNvSpPr>
          <p:nvPr>
            <p:ph type="sldNum" sz="quarter" idx="12"/>
          </p:nvPr>
        </p:nvSpPr>
        <p:spPr/>
        <p:txBody>
          <a:bodyPr/>
          <a:lstStyle/>
          <a:p>
            <a:fld id="{8A6D9EF2-1078-4CF1-AE32-B8E5CFC7CD9F}" type="slidenum">
              <a:rPr lang="en-US" smtClean="0"/>
              <a:pPr/>
              <a:t>‹#›</a:t>
            </a:fld>
            <a:endParaRPr lang="en-US" dirty="0"/>
          </a:p>
        </p:txBody>
      </p:sp>
      <p:sp>
        <p:nvSpPr>
          <p:cNvPr id="8" name="Subtitle 2">
            <a:extLst>
              <a:ext uri="{FF2B5EF4-FFF2-40B4-BE49-F238E27FC236}">
                <a16:creationId xmlns:a16="http://schemas.microsoft.com/office/drawing/2014/main" id="{E2F2D2DB-5A80-451E-82AF-836E80969283}"/>
              </a:ext>
            </a:extLst>
          </p:cNvPr>
          <p:cNvSpPr>
            <a:spLocks noGrp="1"/>
          </p:cNvSpPr>
          <p:nvPr>
            <p:ph type="subTitle" idx="13"/>
          </p:nvPr>
        </p:nvSpPr>
        <p:spPr>
          <a:xfrm>
            <a:off x="670969" y="1200219"/>
            <a:ext cx="10850064" cy="331451"/>
          </a:xfrm>
        </p:spPr>
        <p:txBody>
          <a:bodyPr lIns="0" tIns="0" rIns="0" bIns="0">
            <a:normAutofit/>
          </a:bodyPr>
          <a:lstStyle>
            <a:lvl1pPr marL="0" indent="0" algn="l">
              <a:buNone/>
              <a:defRPr sz="2000" spc="8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10" name="Group 9">
            <a:extLst>
              <a:ext uri="{FF2B5EF4-FFF2-40B4-BE49-F238E27FC236}">
                <a16:creationId xmlns:a16="http://schemas.microsoft.com/office/drawing/2014/main" id="{8CF91731-7857-4708-870F-B33D6CF94035}"/>
              </a:ext>
            </a:extLst>
          </p:cNvPr>
          <p:cNvGrpSpPr/>
          <p:nvPr userDrawn="1"/>
        </p:nvGrpSpPr>
        <p:grpSpPr>
          <a:xfrm>
            <a:off x="685800" y="1601520"/>
            <a:ext cx="10820400" cy="180189"/>
            <a:chOff x="685800" y="1230120"/>
            <a:chExt cx="10820400" cy="180189"/>
          </a:xfrm>
        </p:grpSpPr>
        <p:pic>
          <p:nvPicPr>
            <p:cNvPr id="11" name="Picture 10">
              <a:extLst>
                <a:ext uri="{FF2B5EF4-FFF2-40B4-BE49-F238E27FC236}">
                  <a16:creationId xmlns:a16="http://schemas.microsoft.com/office/drawing/2014/main" id="{79E88707-4B88-4B30-9748-E7ECF69602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2" name="Straight Connector 11">
              <a:extLst>
                <a:ext uri="{FF2B5EF4-FFF2-40B4-BE49-F238E27FC236}">
                  <a16:creationId xmlns:a16="http://schemas.microsoft.com/office/drawing/2014/main" id="{58521953-B8D0-45EB-8017-ABD4303F9FAB}"/>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3" name="Title 12">
            <a:extLst>
              <a:ext uri="{FF2B5EF4-FFF2-40B4-BE49-F238E27FC236}">
                <a16:creationId xmlns:a16="http://schemas.microsoft.com/office/drawing/2014/main" id="{0FD3D568-5372-4459-AFA8-8CB404515EBD}"/>
              </a:ext>
            </a:extLst>
          </p:cNvPr>
          <p:cNvSpPr>
            <a:spLocks noGrp="1"/>
          </p:cNvSpPr>
          <p:nvPr>
            <p:ph type="title"/>
          </p:nvPr>
        </p:nvSpPr>
        <p:spPr/>
        <p:txBody>
          <a:bodyPr/>
          <a:lstStyle/>
          <a:p>
            <a:r>
              <a:rPr lang="en-US" dirty="0"/>
              <a:t>Click to edit Master title style</a:t>
            </a:r>
          </a:p>
        </p:txBody>
      </p:sp>
      <p:sp>
        <p:nvSpPr>
          <p:cNvPr id="16" name="Rectangle 15">
            <a:extLst>
              <a:ext uri="{FF2B5EF4-FFF2-40B4-BE49-F238E27FC236}">
                <a16:creationId xmlns:a16="http://schemas.microsoft.com/office/drawing/2014/main" id="{20F31B4B-4C90-FA44-8E5B-4F3FDCE97DA2}"/>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478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wo Content Chart/Tab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619966B-5DAE-D64A-846F-DE28E4B99BCD}"/>
              </a:ext>
            </a:extLst>
          </p:cNvPr>
          <p:cNvSpPr/>
          <p:nvPr userDrawn="1">
            <p:custDataLst>
              <p:tags r:id="rId1"/>
            </p:custDataLst>
          </p:nvPr>
        </p:nvSpPr>
        <p:spPr>
          <a:xfrm>
            <a:off x="670969" y="1575926"/>
            <a:ext cx="10850062" cy="4725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Content Placeholder 2">
            <a:extLst>
              <a:ext uri="{FF2B5EF4-FFF2-40B4-BE49-F238E27FC236}">
                <a16:creationId xmlns:a16="http://schemas.microsoft.com/office/drawing/2014/main" id="{441197E2-F7F7-1144-8AEF-314ECDBEDBB1}"/>
              </a:ext>
            </a:extLst>
          </p:cNvPr>
          <p:cNvSpPr>
            <a:spLocks noGrp="1"/>
          </p:cNvSpPr>
          <p:nvPr>
            <p:ph idx="17"/>
          </p:nvPr>
        </p:nvSpPr>
        <p:spPr>
          <a:xfrm>
            <a:off x="6192608" y="2044094"/>
            <a:ext cx="4740394" cy="4001576"/>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5" name="Content Placeholder 2">
            <a:extLst>
              <a:ext uri="{FF2B5EF4-FFF2-40B4-BE49-F238E27FC236}">
                <a16:creationId xmlns:a16="http://schemas.microsoft.com/office/drawing/2014/main" id="{72C229C9-F2BD-3D42-93F9-E5AC841BE721}"/>
              </a:ext>
            </a:extLst>
          </p:cNvPr>
          <p:cNvSpPr>
            <a:spLocks noGrp="1"/>
          </p:cNvSpPr>
          <p:nvPr>
            <p:ph idx="16"/>
          </p:nvPr>
        </p:nvSpPr>
        <p:spPr>
          <a:xfrm>
            <a:off x="1215190" y="2044094"/>
            <a:ext cx="3951400" cy="4001576"/>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2" name="Title 1">
            <a:extLst>
              <a:ext uri="{FF2B5EF4-FFF2-40B4-BE49-F238E27FC236}">
                <a16:creationId xmlns:a16="http://schemas.microsoft.com/office/drawing/2014/main" id="{5CF704F1-3A31-4CB0-B424-E19EEBAA6701}"/>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DB18F8F1-9636-44A9-9B23-1F25160B39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p>
            <a:fld id="{8A6D9EF2-1078-4CF1-AE32-B8E5CFC7CD9F}" type="slidenum">
              <a:rPr lang="en-US" smtClean="0"/>
              <a:pPr/>
              <a:t>‹#›</a:t>
            </a:fld>
            <a:endParaRPr lang="en-US" dirty="0"/>
          </a:p>
        </p:txBody>
      </p:sp>
      <p:pic>
        <p:nvPicPr>
          <p:cNvPr id="14" name="Picture 13">
            <a:extLst>
              <a:ext uri="{FF2B5EF4-FFF2-40B4-BE49-F238E27FC236}">
                <a16:creationId xmlns:a16="http://schemas.microsoft.com/office/drawing/2014/main" id="{93DA6622-2397-4CA5-8051-CF32CD101CEE}"/>
              </a:ext>
            </a:extLst>
          </p:cNvPr>
          <p:cNvPicPr>
            <a:picLocks/>
          </p:cNvPicPr>
          <p:nvPr userDrawn="1"/>
        </p:nvPicPr>
        <p:blipFill>
          <a:blip r:embed="rId3">
            <a:alphaModFix amt="20000"/>
            <a:extLst>
              <a:ext uri="{28A0092B-C50C-407E-A947-70E740481C1C}">
                <a14:useLocalDpi xmlns:a14="http://schemas.microsoft.com/office/drawing/2010/main"/>
              </a:ext>
            </a:extLst>
          </a:blip>
          <a:stretch>
            <a:fillRect/>
          </a:stretch>
        </p:blipFill>
        <p:spPr>
          <a:xfrm rot="16200000">
            <a:off x="3314145" y="3852673"/>
            <a:ext cx="4491203" cy="172088"/>
          </a:xfrm>
          <a:prstGeom prst="rect">
            <a:avLst/>
          </a:prstGeom>
        </p:spPr>
      </p:pic>
      <p:grpSp>
        <p:nvGrpSpPr>
          <p:cNvPr id="68" name="Group 67">
            <a:extLst>
              <a:ext uri="{FF2B5EF4-FFF2-40B4-BE49-F238E27FC236}">
                <a16:creationId xmlns:a16="http://schemas.microsoft.com/office/drawing/2014/main" id="{3C33BF09-BEBF-4FF1-BBE0-672B40958D29}"/>
              </a:ext>
            </a:extLst>
          </p:cNvPr>
          <p:cNvGrpSpPr/>
          <p:nvPr userDrawn="1"/>
        </p:nvGrpSpPr>
        <p:grpSpPr>
          <a:xfrm>
            <a:off x="685800" y="1315691"/>
            <a:ext cx="10820400" cy="180189"/>
            <a:chOff x="685800" y="1230120"/>
            <a:chExt cx="10820400" cy="180189"/>
          </a:xfrm>
        </p:grpSpPr>
        <p:pic>
          <p:nvPicPr>
            <p:cNvPr id="69" name="Picture 68">
              <a:extLst>
                <a:ext uri="{FF2B5EF4-FFF2-40B4-BE49-F238E27FC236}">
                  <a16:creationId xmlns:a16="http://schemas.microsoft.com/office/drawing/2014/main" id="{0E6ABB16-2DED-4FBB-8286-AF87E40D22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70" name="Straight Connector 69">
              <a:extLst>
                <a:ext uri="{FF2B5EF4-FFF2-40B4-BE49-F238E27FC236}">
                  <a16:creationId xmlns:a16="http://schemas.microsoft.com/office/drawing/2014/main" id="{FA29FA10-8B04-4E8F-B172-A4B8C8783AD9}"/>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0CB7039B-22C5-1A48-9EE4-3F2101FBAFAC}"/>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169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Illustration For Sale">
    <p:bg>
      <p:bgPr>
        <a:solidFill>
          <a:srgbClr val="00518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E5C219-238E-9645-B1CB-4D1A8F31DC12}"/>
              </a:ext>
            </a:extLst>
          </p:cNvPr>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5130341" y="607503"/>
            <a:ext cx="6988657" cy="5947793"/>
          </a:xfrm>
          <a:prstGeom prst="rect">
            <a:avLst/>
          </a:prstGeom>
        </p:spPr>
      </p:pic>
      <p:cxnSp>
        <p:nvCxnSpPr>
          <p:cNvPr id="53" name="Straight Connector 52">
            <a:extLst>
              <a:ext uri="{FF2B5EF4-FFF2-40B4-BE49-F238E27FC236}">
                <a16:creationId xmlns:a16="http://schemas.microsoft.com/office/drawing/2014/main" id="{03156FE0-5083-9245-AFE3-48D9E98B9383}"/>
              </a:ext>
            </a:extLst>
          </p:cNvPr>
          <p:cNvCxnSpPr>
            <a:cxnSpLocks/>
          </p:cNvCxnSpPr>
          <p:nvPr userDrawn="1"/>
        </p:nvCxnSpPr>
        <p:spPr>
          <a:xfrm>
            <a:off x="673281" y="3920604"/>
            <a:ext cx="1194254" cy="0"/>
          </a:xfrm>
          <a:prstGeom prst="line">
            <a:avLst/>
          </a:prstGeom>
          <a:ln w="31750">
            <a:solidFill>
              <a:srgbClr val="8AE7FF"/>
            </a:solidFill>
          </a:ln>
        </p:spPr>
        <p:style>
          <a:lnRef idx="1">
            <a:schemeClr val="accent1"/>
          </a:lnRef>
          <a:fillRef idx="0">
            <a:schemeClr val="accent1"/>
          </a:fillRef>
          <a:effectRef idx="0">
            <a:schemeClr val="accent1"/>
          </a:effectRef>
          <a:fontRef idx="minor">
            <a:schemeClr val="tx1"/>
          </a:fontRef>
        </p:style>
      </p:cxnSp>
      <p:sp>
        <p:nvSpPr>
          <p:cNvPr id="54" name="Title 1">
            <a:extLst>
              <a:ext uri="{FF2B5EF4-FFF2-40B4-BE49-F238E27FC236}">
                <a16:creationId xmlns:a16="http://schemas.microsoft.com/office/drawing/2014/main" id="{EE87A1DE-1C0C-7B43-B8B5-EB8BBF3FEA9B}"/>
              </a:ext>
            </a:extLst>
          </p:cNvPr>
          <p:cNvSpPr>
            <a:spLocks noGrp="1"/>
          </p:cNvSpPr>
          <p:nvPr>
            <p:ph type="ctrTitle"/>
          </p:nvPr>
        </p:nvSpPr>
        <p:spPr>
          <a:xfrm>
            <a:off x="679631" y="1929661"/>
            <a:ext cx="7251031" cy="1749760"/>
          </a:xfrm>
        </p:spPr>
        <p:txBody>
          <a:bodyPr anchor="b">
            <a:normAutofit/>
          </a:bodyPr>
          <a:lstStyle>
            <a:lvl1pPr algn="l">
              <a:lnSpc>
                <a:spcPts val="4400"/>
              </a:lnSpc>
              <a:defRPr sz="4000" b="0" spc="60" baseline="0">
                <a:solidFill>
                  <a:schemeClr val="tx1"/>
                </a:solidFill>
              </a:defRPr>
            </a:lvl1pPr>
          </a:lstStyle>
          <a:p>
            <a:r>
              <a:rPr lang="en-US" dirty="0"/>
              <a:t>Click to edit Master title style</a:t>
            </a:r>
          </a:p>
        </p:txBody>
      </p:sp>
      <p:sp>
        <p:nvSpPr>
          <p:cNvPr id="55" name="Subtitle 2">
            <a:extLst>
              <a:ext uri="{FF2B5EF4-FFF2-40B4-BE49-F238E27FC236}">
                <a16:creationId xmlns:a16="http://schemas.microsoft.com/office/drawing/2014/main" id="{E0213FF7-0153-494D-BA79-B9B47F4B9198}"/>
              </a:ext>
            </a:extLst>
          </p:cNvPr>
          <p:cNvSpPr>
            <a:spLocks noGrp="1"/>
          </p:cNvSpPr>
          <p:nvPr>
            <p:ph type="subTitle" idx="1"/>
          </p:nvPr>
        </p:nvSpPr>
        <p:spPr>
          <a:xfrm>
            <a:off x="670969" y="4161786"/>
            <a:ext cx="5286574" cy="453462"/>
          </a:xfrm>
        </p:spPr>
        <p:txBody>
          <a:bodyPr>
            <a:normAutofit/>
          </a:bodyPr>
          <a:lstStyle>
            <a:lvl1pPr marL="0" indent="0" algn="l">
              <a:buNone/>
              <a:defRPr sz="2800">
                <a:solidFill>
                  <a:srgbClr val="8AE7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7" name="Text Placeholder 21">
            <a:extLst>
              <a:ext uri="{FF2B5EF4-FFF2-40B4-BE49-F238E27FC236}">
                <a16:creationId xmlns:a16="http://schemas.microsoft.com/office/drawing/2014/main" id="{C9DE035C-63CC-6640-A819-CB12DF144494}"/>
              </a:ext>
            </a:extLst>
          </p:cNvPr>
          <p:cNvSpPr>
            <a:spLocks noGrp="1"/>
          </p:cNvSpPr>
          <p:nvPr>
            <p:ph type="body" sz="quarter" idx="13"/>
          </p:nvPr>
        </p:nvSpPr>
        <p:spPr>
          <a:xfrm>
            <a:off x="670969" y="4808982"/>
            <a:ext cx="5301815" cy="1600610"/>
          </a:xfrm>
        </p:spPr>
        <p:txBody>
          <a:bodyPr>
            <a:normAutofit/>
          </a:bodyPr>
          <a:lstStyle>
            <a:lvl1pPr marL="19050" indent="0">
              <a:spcBef>
                <a:spcPts val="0"/>
              </a:spcBef>
              <a:buFont typeface=".AppleSystemUIFont" charset="-120"/>
              <a:buChar char="​"/>
              <a:tabLst/>
              <a:defRPr sz="2400" b="0">
                <a:solidFill>
                  <a:srgbClr val="8AE7FF"/>
                </a:solidFill>
              </a:defRPr>
            </a:lvl1pPr>
            <a:lvl2pPr marL="19050" indent="0">
              <a:spcBef>
                <a:spcPts val="0"/>
              </a:spcBef>
              <a:buFont typeface=".AppleSystemUIFont" charset="-120"/>
              <a:buChar char="​"/>
              <a:tabLst/>
              <a:defRPr sz="2400" b="0">
                <a:solidFill>
                  <a:schemeClr val="accent1">
                    <a:lumMod val="40000"/>
                    <a:lumOff val="60000"/>
                  </a:schemeClr>
                </a:solidFill>
              </a:defRPr>
            </a:lvl2pPr>
            <a:lvl3pPr marL="19050" indent="0">
              <a:spcBef>
                <a:spcPts val="0"/>
              </a:spcBef>
              <a:buFont typeface=".AppleSystemUIFont" charset="-120"/>
              <a:buChar char="​"/>
              <a:tabLst/>
              <a:defRPr sz="2400" b="0">
                <a:solidFill>
                  <a:schemeClr val="accent1">
                    <a:lumMod val="40000"/>
                    <a:lumOff val="60000"/>
                  </a:schemeClr>
                </a:solidFill>
              </a:defRPr>
            </a:lvl3pPr>
            <a:lvl4pPr>
              <a:spcBef>
                <a:spcPts val="0"/>
              </a:spcBef>
              <a:defRPr sz="2400" b="0">
                <a:solidFill>
                  <a:schemeClr val="accent1">
                    <a:lumMod val="40000"/>
                    <a:lumOff val="60000"/>
                  </a:schemeClr>
                </a:solidFill>
              </a:defRPr>
            </a:lvl4pPr>
            <a:lvl5pPr>
              <a:spcBef>
                <a:spcPts val="0"/>
              </a:spcBef>
              <a:defRPr sz="2400" b="0">
                <a:solidFill>
                  <a:schemeClr val="accent1">
                    <a:lumMod val="40000"/>
                    <a:lumOff val="60000"/>
                  </a:schemeClr>
                </a:solidFill>
              </a:defRPr>
            </a:lvl5pPr>
            <a:lvl6pPr>
              <a:spcBef>
                <a:spcPts val="0"/>
              </a:spcBef>
              <a:spcAft>
                <a:spcPts val="600"/>
              </a:spcAft>
              <a:defRPr sz="1800">
                <a:solidFill>
                  <a:schemeClr val="accent1">
                    <a:lumMod val="40000"/>
                    <a:lumOff val="60000"/>
                  </a:schemeClr>
                </a:solidFill>
              </a:defRPr>
            </a:lvl6pPr>
            <a:lvl7pPr>
              <a:spcBef>
                <a:spcPts val="0"/>
              </a:spcBef>
              <a:spcAft>
                <a:spcPts val="600"/>
              </a:spcAft>
              <a:defRPr sz="1800">
                <a:solidFill>
                  <a:schemeClr val="accent1">
                    <a:lumMod val="40000"/>
                    <a:lumOff val="60000"/>
                  </a:schemeClr>
                </a:solidFill>
              </a:defRPr>
            </a:lvl7pPr>
            <a:lvl8pPr>
              <a:spcBef>
                <a:spcPts val="0"/>
              </a:spcBef>
              <a:spcAft>
                <a:spcPts val="600"/>
              </a:spcAft>
              <a:defRPr sz="1800">
                <a:solidFill>
                  <a:schemeClr val="accent1">
                    <a:lumMod val="40000"/>
                    <a:lumOff val="60000"/>
                  </a:schemeClr>
                </a:solidFill>
              </a:defRPr>
            </a:lvl8pPr>
            <a:lvl9pPr>
              <a:spcBef>
                <a:spcPts val="0"/>
              </a:spcBef>
              <a:spcAft>
                <a:spcPts val="600"/>
              </a:spcAft>
              <a:defRPr sz="1800">
                <a:solidFill>
                  <a:schemeClr val="accent1">
                    <a:lumMod val="40000"/>
                    <a:lumOff val="60000"/>
                  </a:schemeClr>
                </a:solidFill>
              </a:defRPr>
            </a:lvl9pPr>
          </a:lstStyle>
          <a:p>
            <a:pPr lvl="0"/>
            <a:r>
              <a:rPr lang="en-US" dirty="0"/>
              <a:t>Click to edit Master text styles</a:t>
            </a:r>
          </a:p>
        </p:txBody>
      </p:sp>
      <p:sp>
        <p:nvSpPr>
          <p:cNvPr id="58" name="Footer Placeholder 2">
            <a:extLst>
              <a:ext uri="{FF2B5EF4-FFF2-40B4-BE49-F238E27FC236}">
                <a16:creationId xmlns:a16="http://schemas.microsoft.com/office/drawing/2014/main" id="{CAD5100F-27D6-0E49-9412-200AEEE2BBB3}"/>
              </a:ext>
            </a:extLst>
          </p:cNvPr>
          <p:cNvSpPr txBox="1">
            <a:spLocks/>
          </p:cNvSpPr>
          <p:nvPr userDrawn="1"/>
        </p:nvSpPr>
        <p:spPr>
          <a:xfrm>
            <a:off x="670969" y="6559095"/>
            <a:ext cx="289342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i="0" dirty="0">
                <a:solidFill>
                  <a:srgbClr val="FFFFFF"/>
                </a:solidFill>
                <a:latin typeface="Arial" panose="020B0604020202020204" pitchFamily="34" charset="0"/>
                <a:cs typeface="Arial" panose="020B0604020202020204" pitchFamily="34" charset="0"/>
              </a:rPr>
              <a:t>© ICE Mortgage Technology. All rights reserved. </a:t>
            </a:r>
            <a:fld id="{B3B1E8A1-168D-4243-9708-A76A30C359D9}" type="datetime1">
              <a:rPr lang="en-US" sz="900" b="0" i="0" smtClean="0">
                <a:solidFill>
                  <a:srgbClr val="FFFFFF"/>
                </a:solidFill>
                <a:latin typeface="Arial" panose="020B0604020202020204" pitchFamily="34" charset="0"/>
                <a:cs typeface="Arial" panose="020B0604020202020204" pitchFamily="34" charset="0"/>
              </a:rPr>
              <a:pPr algn="l"/>
              <a:t>8/17/2022</a:t>
            </a:fld>
            <a:endParaRPr lang="en-US" sz="900" b="0" i="0" dirty="0">
              <a:solidFill>
                <a:srgbClr val="FFFFFF"/>
              </a:solidFill>
              <a:latin typeface="Arial" panose="020B0604020202020204" pitchFamily="34" charset="0"/>
              <a:cs typeface="Arial" panose="020B0604020202020204" pitchFamily="34" charset="0"/>
            </a:endParaRPr>
          </a:p>
        </p:txBody>
      </p:sp>
      <p:pic>
        <p:nvPicPr>
          <p:cNvPr id="59" name="Picture 58" descr="A picture containing drawing&#10;&#10;Description automatically generated">
            <a:extLst>
              <a:ext uri="{FF2B5EF4-FFF2-40B4-BE49-F238E27FC236}">
                <a16:creationId xmlns:a16="http://schemas.microsoft.com/office/drawing/2014/main" id="{67DCED23-F3AA-BE43-AAB2-F8AC6B5BAA9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70970" y="691072"/>
            <a:ext cx="2743200" cy="871369"/>
          </a:xfrm>
          <a:prstGeom prst="rect">
            <a:avLst/>
          </a:prstGeom>
        </p:spPr>
      </p:pic>
    </p:spTree>
    <p:extLst>
      <p:ext uri="{BB962C8B-B14F-4D97-AF65-F5344CB8AC3E}">
        <p14:creationId xmlns:p14="http://schemas.microsoft.com/office/powerpoint/2010/main" val="133855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xEl>
                                              <p:pRg st="0" end="0"/>
                                            </p:txEl>
                                          </p:spTgt>
                                        </p:tgtEl>
                                        <p:attrNameLst>
                                          <p:attrName>style.visibility</p:attrName>
                                        </p:attrNameLst>
                                      </p:cBhvr>
                                      <p:to>
                                        <p:strVal val="visible"/>
                                      </p:to>
                                    </p:set>
                                    <p:animEffect transition="in" filter="fade">
                                      <p:cBhvr>
                                        <p:cTn id="13" dur="500"/>
                                        <p:tgtEl>
                                          <p:spTgt spid="5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7">
                                            <p:txEl>
                                              <p:pRg st="0" end="0"/>
                                            </p:txEl>
                                          </p:spTgt>
                                        </p:tgtEl>
                                        <p:attrNameLst>
                                          <p:attrName>style.visibility</p:attrName>
                                        </p:attrNameLst>
                                      </p:cBhvr>
                                      <p:to>
                                        <p:strVal val="visible"/>
                                      </p:to>
                                    </p:set>
                                    <p:animEffect transition="in" filter="fade">
                                      <p:cBhvr>
                                        <p:cTn id="16" dur="500"/>
                                        <p:tgtEl>
                                          <p:spTgt spid="5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build="p">
        <p:tmplLst>
          <p:tmpl lvl="1">
            <p:tnLst>
              <p:par>
                <p:cTn presetID="10" presetClass="entr" presetSubtype="0" fill="hold" nodeType="withEffect">
                  <p:stCondLst>
                    <p:cond delay="0"/>
                  </p:stCondLst>
                  <p:childTnLst>
                    <p:set>
                      <p:cBhvr>
                        <p:cTn dur="1" fill="hold">
                          <p:stCondLst>
                            <p:cond delay="0"/>
                          </p:stCondLst>
                        </p:cTn>
                        <p:tgtEl>
                          <p:spTgt spid="55"/>
                        </p:tgtEl>
                        <p:attrNameLst>
                          <p:attrName>style.visibility</p:attrName>
                        </p:attrNameLst>
                      </p:cBhvr>
                      <p:to>
                        <p:strVal val="visible"/>
                      </p:to>
                    </p:set>
                    <p:animEffect transition="in" filter="fade">
                      <p:cBhvr>
                        <p:cTn dur="500"/>
                        <p:tgtEl>
                          <p:spTgt spid="55"/>
                        </p:tgtEl>
                      </p:cBhvr>
                    </p:animEffect>
                  </p:childTnLst>
                </p:cTn>
              </p:par>
            </p:tnLst>
          </p:tmpl>
        </p:tmplLst>
      </p:bldP>
      <p:bldP spid="57" grpId="0" build="p">
        <p:tmplLst>
          <p:tmpl lvl="1">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Lst>
      </p:b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Two Content Chart/Tab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D925978-8273-48C6-A25B-7EB52A7F155B}"/>
              </a:ext>
            </a:extLst>
          </p:cNvPr>
          <p:cNvSpPr/>
          <p:nvPr userDrawn="1">
            <p:custDataLst>
              <p:tags r:id="rId1"/>
            </p:custDataLst>
          </p:nvPr>
        </p:nvSpPr>
        <p:spPr>
          <a:xfrm>
            <a:off x="670969" y="1781710"/>
            <a:ext cx="10850062" cy="4527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Content Placeholder 2">
            <a:extLst>
              <a:ext uri="{FF2B5EF4-FFF2-40B4-BE49-F238E27FC236}">
                <a16:creationId xmlns:a16="http://schemas.microsoft.com/office/drawing/2014/main" id="{2456ED98-5D47-3B42-9226-78AF9BC02EE2}"/>
              </a:ext>
            </a:extLst>
          </p:cNvPr>
          <p:cNvSpPr>
            <a:spLocks noGrp="1"/>
          </p:cNvSpPr>
          <p:nvPr>
            <p:ph idx="17"/>
          </p:nvPr>
        </p:nvSpPr>
        <p:spPr>
          <a:xfrm>
            <a:off x="6192608" y="2044094"/>
            <a:ext cx="4740394" cy="4001576"/>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6" name="Content Placeholder 2">
            <a:extLst>
              <a:ext uri="{FF2B5EF4-FFF2-40B4-BE49-F238E27FC236}">
                <a16:creationId xmlns:a16="http://schemas.microsoft.com/office/drawing/2014/main" id="{3CCD73B4-079B-F34E-A731-6EA7783E56DD}"/>
              </a:ext>
            </a:extLst>
          </p:cNvPr>
          <p:cNvSpPr>
            <a:spLocks noGrp="1"/>
          </p:cNvSpPr>
          <p:nvPr>
            <p:ph idx="16"/>
          </p:nvPr>
        </p:nvSpPr>
        <p:spPr>
          <a:xfrm>
            <a:off x="1215190" y="2044094"/>
            <a:ext cx="3951400" cy="4001576"/>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2" name="Title 1">
            <a:extLst>
              <a:ext uri="{FF2B5EF4-FFF2-40B4-BE49-F238E27FC236}">
                <a16:creationId xmlns:a16="http://schemas.microsoft.com/office/drawing/2014/main" id="{5CF704F1-3A31-4CB0-B424-E19EEBAA6701}"/>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DB18F8F1-9636-44A9-9B23-1F25160B39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p>
            <a:fld id="{8A6D9EF2-1078-4CF1-AE32-B8E5CFC7CD9F}" type="slidenum">
              <a:rPr lang="en-US" smtClean="0"/>
              <a:pPr/>
              <a:t>‹#›</a:t>
            </a:fld>
            <a:endParaRPr lang="en-US" dirty="0"/>
          </a:p>
        </p:txBody>
      </p:sp>
      <p:grpSp>
        <p:nvGrpSpPr>
          <p:cNvPr id="9" name="Group 8">
            <a:extLst>
              <a:ext uri="{FF2B5EF4-FFF2-40B4-BE49-F238E27FC236}">
                <a16:creationId xmlns:a16="http://schemas.microsoft.com/office/drawing/2014/main" id="{6EEF25E6-7794-4099-852A-FAFE0DED6006}"/>
              </a:ext>
            </a:extLst>
          </p:cNvPr>
          <p:cNvGrpSpPr/>
          <p:nvPr userDrawn="1"/>
        </p:nvGrpSpPr>
        <p:grpSpPr>
          <a:xfrm>
            <a:off x="685800" y="1601520"/>
            <a:ext cx="10820400" cy="180189"/>
            <a:chOff x="685800" y="1230120"/>
            <a:chExt cx="10820400" cy="180189"/>
          </a:xfrm>
        </p:grpSpPr>
        <p:pic>
          <p:nvPicPr>
            <p:cNvPr id="10" name="Picture 9">
              <a:extLst>
                <a:ext uri="{FF2B5EF4-FFF2-40B4-BE49-F238E27FC236}">
                  <a16:creationId xmlns:a16="http://schemas.microsoft.com/office/drawing/2014/main" id="{4E4300EB-1F29-4DBF-9FE6-CE568DDB7E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1" name="Straight Connector 10">
              <a:extLst>
                <a:ext uri="{FF2B5EF4-FFF2-40B4-BE49-F238E27FC236}">
                  <a16:creationId xmlns:a16="http://schemas.microsoft.com/office/drawing/2014/main" id="{9D5B3C8A-947A-4C94-BBAF-7C0CBEFE9524}"/>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2" name="Subtitle 2">
            <a:extLst>
              <a:ext uri="{FF2B5EF4-FFF2-40B4-BE49-F238E27FC236}">
                <a16:creationId xmlns:a16="http://schemas.microsoft.com/office/drawing/2014/main" id="{BD11FB02-C0B2-4BD4-BE01-7BEE43AB3928}"/>
              </a:ext>
            </a:extLst>
          </p:cNvPr>
          <p:cNvSpPr>
            <a:spLocks noGrp="1"/>
          </p:cNvSpPr>
          <p:nvPr>
            <p:ph type="subTitle" idx="13"/>
          </p:nvPr>
        </p:nvSpPr>
        <p:spPr>
          <a:xfrm>
            <a:off x="670969" y="1200219"/>
            <a:ext cx="10850064" cy="331451"/>
          </a:xfrm>
        </p:spPr>
        <p:txBody>
          <a:bodyPr lIns="0" tIns="0" rIns="0" bIns="0">
            <a:normAutofit/>
          </a:bodyPr>
          <a:lstStyle>
            <a:lvl1pPr marL="0" indent="0" algn="l">
              <a:buNone/>
              <a:defRPr sz="2000" spc="8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Picture 13">
            <a:extLst>
              <a:ext uri="{FF2B5EF4-FFF2-40B4-BE49-F238E27FC236}">
                <a16:creationId xmlns:a16="http://schemas.microsoft.com/office/drawing/2014/main" id="{93DA6622-2397-4CA5-8051-CF32CD101CEE}"/>
              </a:ext>
            </a:extLst>
          </p:cNvPr>
          <p:cNvPicPr>
            <a:picLocks/>
          </p:cNvPicPr>
          <p:nvPr userDrawn="1"/>
        </p:nvPicPr>
        <p:blipFill>
          <a:blip r:embed="rId4">
            <a:alphaModFix amt="20000"/>
            <a:extLst>
              <a:ext uri="{28A0092B-C50C-407E-A947-70E740481C1C}">
                <a14:useLocalDpi xmlns:a14="http://schemas.microsoft.com/office/drawing/2010/main"/>
              </a:ext>
            </a:extLst>
          </a:blip>
          <a:stretch>
            <a:fillRect/>
          </a:stretch>
        </p:blipFill>
        <p:spPr>
          <a:xfrm rot="16200000">
            <a:off x="3314145" y="3959338"/>
            <a:ext cx="4491203" cy="172088"/>
          </a:xfrm>
          <a:prstGeom prst="rect">
            <a:avLst/>
          </a:prstGeom>
        </p:spPr>
      </p:pic>
    </p:spTree>
    <p:extLst>
      <p:ext uri="{BB962C8B-B14F-4D97-AF65-F5344CB8AC3E}">
        <p14:creationId xmlns:p14="http://schemas.microsoft.com/office/powerpoint/2010/main" val="237150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Questions">
    <p:spTree>
      <p:nvGrpSpPr>
        <p:cNvPr id="1" name=""/>
        <p:cNvGrpSpPr/>
        <p:nvPr/>
      </p:nvGrpSpPr>
      <p:grpSpPr>
        <a:xfrm>
          <a:off x="0" y="0"/>
          <a:ext cx="0" cy="0"/>
          <a:chOff x="0" y="0"/>
          <a:chExt cx="0" cy="0"/>
        </a:xfrm>
      </p:grpSpPr>
      <p:pic>
        <p:nvPicPr>
          <p:cNvPr id="5" name="Picture 4"/>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5171314" y="0"/>
            <a:ext cx="7020686" cy="6858000"/>
          </a:xfrm>
          <a:prstGeom prst="rect">
            <a:avLst/>
          </a:prstGeom>
        </p:spPr>
      </p:pic>
      <p:sp>
        <p:nvSpPr>
          <p:cNvPr id="6" name="Rectangle 5"/>
          <p:cNvSpPr/>
          <p:nvPr userDrawn="1"/>
        </p:nvSpPr>
        <p:spPr>
          <a:xfrm>
            <a:off x="474951" y="2758931"/>
            <a:ext cx="4243469" cy="1015663"/>
          </a:xfrm>
          <a:prstGeom prst="rect">
            <a:avLst/>
          </a:prstGeom>
        </p:spPr>
        <p:txBody>
          <a:bodyPr wrap="none" anchor="ctr">
            <a:spAutoFit/>
          </a:bodyPr>
          <a:lstStyle/>
          <a:p>
            <a:pPr marL="0" lvl="1">
              <a:spcAft>
                <a:spcPts val="1800"/>
              </a:spcAft>
            </a:pPr>
            <a:r>
              <a:rPr lang="en-US" sz="6000" b="0" spc="130" dirty="0">
                <a:solidFill>
                  <a:schemeClr val="tx2"/>
                </a:solidFill>
              </a:rPr>
              <a:t>Questions?</a:t>
            </a:r>
          </a:p>
        </p:txBody>
      </p:sp>
      <p:cxnSp>
        <p:nvCxnSpPr>
          <p:cNvPr id="7" name="Straight Connector 6">
            <a:extLst>
              <a:ext uri="{FF2B5EF4-FFF2-40B4-BE49-F238E27FC236}">
                <a16:creationId xmlns:a16="http://schemas.microsoft.com/office/drawing/2014/main" id="{9758FBB0-1CB8-4647-8216-3B2DDEF43196}"/>
              </a:ext>
            </a:extLst>
          </p:cNvPr>
          <p:cNvCxnSpPr>
            <a:cxnSpLocks/>
          </p:cNvCxnSpPr>
          <p:nvPr userDrawn="1"/>
        </p:nvCxnSpPr>
        <p:spPr>
          <a:xfrm>
            <a:off x="673281" y="4033414"/>
            <a:ext cx="1194254"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9C263711-DF3C-4EFA-850A-007DAA2BA3D9}"/>
              </a:ext>
            </a:extLst>
          </p:cNvPr>
          <p:cNvSpPr>
            <a:spLocks noGrp="1"/>
          </p:cNvSpPr>
          <p:nvPr>
            <p:ph type="ftr" sz="quarter" idx="11"/>
          </p:nvPr>
        </p:nvSpPr>
        <p:spPr>
          <a:xfrm>
            <a:off x="1767508" y="6550738"/>
            <a:ext cx="6217920" cy="150207"/>
          </a:xfrm>
        </p:spPr>
        <p:txBody>
          <a:bodyPr/>
          <a:lstStyle>
            <a:lvl1pPr>
              <a:defRPr>
                <a:solidFill>
                  <a:schemeClr val="bg2"/>
                </a:solidFill>
              </a:defRPr>
            </a:lvl1pPr>
          </a:lstStyle>
          <a:p>
            <a:endParaRPr lang="en-US" dirty="0"/>
          </a:p>
        </p:txBody>
      </p:sp>
      <p:sp>
        <p:nvSpPr>
          <p:cNvPr id="4" name="Slide Number Placeholder 3">
            <a:extLst>
              <a:ext uri="{FF2B5EF4-FFF2-40B4-BE49-F238E27FC236}">
                <a16:creationId xmlns:a16="http://schemas.microsoft.com/office/drawing/2014/main" id="{BB683ECC-6379-42CE-A8BE-3D94053A9695}"/>
              </a:ext>
            </a:extLst>
          </p:cNvPr>
          <p:cNvSpPr>
            <a:spLocks noGrp="1"/>
          </p:cNvSpPr>
          <p:nvPr>
            <p:ph type="sldNum" sz="quarter" idx="12"/>
          </p:nvPr>
        </p:nvSpPr>
        <p:spPr/>
        <p:txBody>
          <a:bodyPr/>
          <a:lstStyle>
            <a:lvl1pPr>
              <a:defRPr>
                <a:solidFill>
                  <a:schemeClr val="bg2"/>
                </a:solidFill>
              </a:defRPr>
            </a:lvl1pPr>
          </a:lstStyle>
          <a:p>
            <a:fld id="{8A6D9EF2-1078-4CF1-AE32-B8E5CFC7CD9F}" type="slidenum">
              <a:rPr lang="en-US" smtClean="0"/>
              <a:pPr/>
              <a:t>‹#›</a:t>
            </a:fld>
            <a:endParaRPr lang="en-US" dirty="0"/>
          </a:p>
        </p:txBody>
      </p:sp>
      <p:cxnSp>
        <p:nvCxnSpPr>
          <p:cNvPr id="9" name="Straight Connector 8">
            <a:extLst>
              <a:ext uri="{FF2B5EF4-FFF2-40B4-BE49-F238E27FC236}">
                <a16:creationId xmlns:a16="http://schemas.microsoft.com/office/drawing/2014/main" id="{1FF1B528-81AD-4CE9-830B-F136BF596882}"/>
              </a:ext>
            </a:extLst>
          </p:cNvPr>
          <p:cNvCxnSpPr/>
          <p:nvPr userDrawn="1"/>
        </p:nvCxnSpPr>
        <p:spPr>
          <a:xfrm>
            <a:off x="11179926" y="6542036"/>
            <a:ext cx="0" cy="174157"/>
          </a:xfrm>
          <a:prstGeom prst="line">
            <a:avLst/>
          </a:prstGeom>
          <a:ln w="9525" cap="flat" cmpd="sng" algn="ctr">
            <a:solidFill>
              <a:schemeClr val="bg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AA1B0C2F-2FBE-A046-8C13-B41C4B9848EF}"/>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rgbClr val="939598"/>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rgbClr val="939598"/>
                </a:solidFill>
                <a:latin typeface="Arial" panose="020B0604020202020204" pitchFamily="34" charset="0"/>
                <a:cs typeface="Arial" panose="020B0604020202020204" pitchFamily="34" charset="0"/>
              </a:rPr>
              <a:pPr algn="r"/>
              <a:t>8/17/2022</a:t>
            </a:fld>
            <a:r>
              <a:rPr lang="en-US" sz="900" b="0" i="0" dirty="0">
                <a:solidFill>
                  <a:srgbClr val="939598"/>
                </a:solidFill>
                <a:latin typeface="Arial" panose="020B0604020202020204" pitchFamily="34" charset="0"/>
                <a:cs typeface="Arial" panose="020B0604020202020204" pitchFamily="34" charset="0"/>
              </a:rPr>
              <a:t> </a:t>
            </a:r>
          </a:p>
        </p:txBody>
      </p:sp>
      <p:pic>
        <p:nvPicPr>
          <p:cNvPr id="11" name="Picture 10">
            <a:extLst>
              <a:ext uri="{FF2B5EF4-FFF2-40B4-BE49-F238E27FC236}">
                <a16:creationId xmlns:a16="http://schemas.microsoft.com/office/drawing/2014/main" id="{D8909E8D-B0D8-7440-9178-847A1FC5220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70" y="6396222"/>
            <a:ext cx="918085" cy="291627"/>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35" presetClass="path" presetSubtype="0" decel="100000" fill="hold" grpId="1" nodeType="withEffect">
                                  <p:stCondLst>
                                    <p:cond delay="0"/>
                                  </p:stCondLst>
                                  <p:childTnLst>
                                    <p:animMotion origin="layout" path="M -4.375E-6 4.81481E-6 L -0.08932 4.81481E-6 " pathEditMode="relative" rAng="0" ptsTypes="AA">
                                      <p:cBhvr>
                                        <p:cTn id="9" dur="750" spd="-100000" fill="hold"/>
                                        <p:tgtEl>
                                          <p:spTgt spid="6"/>
                                        </p:tgtEl>
                                        <p:attrNameLst>
                                          <p:attrName>ppt_x</p:attrName>
                                          <p:attrName>ppt_y</p:attrName>
                                        </p:attrNameLst>
                                      </p:cBhvr>
                                      <p:rCtr x="-4466" y="0"/>
                                    </p:animMotion>
                                  </p:childTnLst>
                                </p:cTn>
                              </p:par>
                              <p:par>
                                <p:cTn id="10" presetID="10"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0"/>
                                  </p:stCondLst>
                                  <p:childTnLst>
                                    <p:animMotion origin="layout" path="M -4.375E-6 4.81481E-6 L -0.08932 4.81481E-6 " pathEditMode="relative" rAng="0" ptsTypes="AA">
                                      <p:cBhvr>
                                        <p:cTn id="14" dur="750" spd="-100000" fill="hold"/>
                                        <p:tgtEl>
                                          <p:spTgt spid="7"/>
                                        </p:tgtEl>
                                        <p:attrNameLst>
                                          <p:attrName>ppt_x</p:attrName>
                                          <p:attrName>ppt_y</p:attrName>
                                        </p:attrNameLst>
                                      </p:cBhvr>
                                      <p:rCtr x="-44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act Car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E298092-CB7D-4B99-9B3A-7BCBEBC33124}"/>
              </a:ext>
            </a:extLst>
          </p:cNvPr>
          <p:cNvSpPr>
            <a:spLocks noGrp="1"/>
          </p:cNvSpPr>
          <p:nvPr>
            <p:ph type="ftr" sz="quarter" idx="11"/>
          </p:nvPr>
        </p:nvSpPr>
        <p:spPr>
          <a:xfrm>
            <a:off x="1767508" y="6550738"/>
            <a:ext cx="6217920" cy="150207"/>
          </a:xfrm>
        </p:spPr>
        <p:txBody>
          <a:bodyPr/>
          <a:lstStyle>
            <a:lvl1pPr>
              <a:defRPr>
                <a:solidFill>
                  <a:schemeClr val="bg1"/>
                </a:solidFill>
              </a:defRPr>
            </a:lvl1pPr>
          </a:lstStyle>
          <a:p>
            <a:endParaRPr lang="en-US" dirty="0"/>
          </a:p>
        </p:txBody>
      </p:sp>
      <p:sp>
        <p:nvSpPr>
          <p:cNvPr id="5" name="Slide Number Placeholder 4">
            <a:extLst>
              <a:ext uri="{FF2B5EF4-FFF2-40B4-BE49-F238E27FC236}">
                <a16:creationId xmlns:a16="http://schemas.microsoft.com/office/drawing/2014/main" id="{7032EDEF-0284-474E-A57E-2E0EE762569D}"/>
              </a:ext>
            </a:extLst>
          </p:cNvPr>
          <p:cNvSpPr>
            <a:spLocks noGrp="1"/>
          </p:cNvSpPr>
          <p:nvPr>
            <p:ph type="sldNum" sz="quarter" idx="12"/>
          </p:nvPr>
        </p:nvSpPr>
        <p:spPr/>
        <p:txBody>
          <a:bodyPr/>
          <a:lstStyle>
            <a:lvl1pPr>
              <a:defRPr>
                <a:solidFill>
                  <a:schemeClr val="bg1"/>
                </a:solidFill>
              </a:defRPr>
            </a:lvl1pPr>
          </a:lstStyle>
          <a:p>
            <a:fld id="{8A6D9EF2-1078-4CF1-AE32-B8E5CFC7CD9F}" type="slidenum">
              <a:rPr lang="en-US" smtClean="0"/>
              <a:pPr/>
              <a:t>‹#›</a:t>
            </a:fld>
            <a:endParaRPr lang="en-US" dirty="0"/>
          </a:p>
        </p:txBody>
      </p:sp>
      <p:sp>
        <p:nvSpPr>
          <p:cNvPr id="11" name="Rectangle 10"/>
          <p:cNvSpPr/>
          <p:nvPr userDrawn="1"/>
        </p:nvSpPr>
        <p:spPr>
          <a:xfrm>
            <a:off x="0" y="1165912"/>
            <a:ext cx="6315740" cy="4526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6" name="Straight Connector 25">
            <a:extLst>
              <a:ext uri="{FF2B5EF4-FFF2-40B4-BE49-F238E27FC236}">
                <a16:creationId xmlns:a16="http://schemas.microsoft.com/office/drawing/2014/main" id="{9758FBB0-1CB8-4647-8216-3B2DDEF43196}"/>
              </a:ext>
            </a:extLst>
          </p:cNvPr>
          <p:cNvCxnSpPr>
            <a:cxnSpLocks/>
          </p:cNvCxnSpPr>
          <p:nvPr userDrawn="1"/>
        </p:nvCxnSpPr>
        <p:spPr>
          <a:xfrm>
            <a:off x="675277" y="4341774"/>
            <a:ext cx="1194254"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E5811A8-0A7D-42B3-B6F6-71552188E675}"/>
              </a:ext>
            </a:extLst>
          </p:cNvPr>
          <p:cNvSpPr>
            <a:spLocks noGrp="1"/>
          </p:cNvSpPr>
          <p:nvPr>
            <p:ph type="title" hasCustomPrompt="1"/>
          </p:nvPr>
        </p:nvSpPr>
        <p:spPr>
          <a:xfrm>
            <a:off x="670969" y="2793654"/>
            <a:ext cx="5272631" cy="891682"/>
          </a:xfrm>
        </p:spPr>
        <p:txBody>
          <a:bodyPr>
            <a:noAutofit/>
          </a:bodyPr>
          <a:lstStyle>
            <a:lvl1pPr>
              <a:lnSpc>
                <a:spcPts val="3600"/>
              </a:lnSpc>
              <a:defRPr sz="3200" b="0" baseline="0">
                <a:solidFill>
                  <a:schemeClr val="tx2"/>
                </a:solidFill>
              </a:defRPr>
            </a:lvl1pPr>
          </a:lstStyle>
          <a:p>
            <a:r>
              <a:rPr lang="en-US" dirty="0"/>
              <a:t>Click to insert contact name</a:t>
            </a:r>
          </a:p>
        </p:txBody>
      </p:sp>
      <p:sp>
        <p:nvSpPr>
          <p:cNvPr id="28" name="Text Placeholder 27"/>
          <p:cNvSpPr>
            <a:spLocks noGrp="1"/>
          </p:cNvSpPr>
          <p:nvPr>
            <p:ph type="body" sz="quarter" idx="14" hasCustomPrompt="1"/>
          </p:nvPr>
        </p:nvSpPr>
        <p:spPr>
          <a:xfrm>
            <a:off x="670969" y="4552950"/>
            <a:ext cx="5272631" cy="869950"/>
          </a:xfrm>
        </p:spPr>
        <p:txBody>
          <a:bodyPr>
            <a:noAutofit/>
          </a:bodyPr>
          <a:lstStyle>
            <a:lvl1pPr marL="0" indent="0">
              <a:lnSpc>
                <a:spcPts val="2200"/>
              </a:lnSpc>
              <a:spcBef>
                <a:spcPts val="0"/>
              </a:spcBef>
              <a:spcAft>
                <a:spcPts val="900"/>
              </a:spcAft>
              <a:buFont typeface=".AppleSystemUIFont" charset="-120"/>
              <a:buChar char="​"/>
              <a:tabLst/>
              <a:defRPr sz="1800" baseline="0"/>
            </a:lvl1pPr>
            <a:lvl2pPr marL="0" indent="0">
              <a:lnSpc>
                <a:spcPts val="2000"/>
              </a:lnSpc>
              <a:spcBef>
                <a:spcPts val="0"/>
              </a:spcBef>
              <a:spcAft>
                <a:spcPts val="900"/>
              </a:spcAft>
              <a:buFont typeface=".AppleSystemUIFont" charset="-120"/>
              <a:buChar char="​"/>
              <a:tabLst/>
              <a:defRPr sz="1600"/>
            </a:lvl2pPr>
            <a:lvl3pPr marL="11113" indent="0">
              <a:spcBef>
                <a:spcPts val="0"/>
              </a:spcBef>
              <a:buFont typeface=".AppleSystemUIFont" charset="-120"/>
              <a:buChar char="​"/>
              <a:tabLst/>
              <a:defRPr sz="1400"/>
            </a:lvl3pPr>
            <a:lvl4pPr>
              <a:defRPr sz="2000"/>
            </a:lvl4pPr>
            <a:lvl5pPr>
              <a:defRPr sz="1800"/>
            </a:lvl5pPr>
          </a:lstStyle>
          <a:p>
            <a:pPr lvl="0"/>
            <a:r>
              <a:rPr lang="en-US" dirty="0"/>
              <a:t>Click to insert phone and email</a:t>
            </a:r>
          </a:p>
          <a:p>
            <a:pPr lvl="1"/>
            <a:r>
              <a:rPr lang="en-US" dirty="0"/>
              <a:t>Second level</a:t>
            </a:r>
          </a:p>
        </p:txBody>
      </p:sp>
      <p:sp>
        <p:nvSpPr>
          <p:cNvPr id="23" name="Subtitle 2">
            <a:extLst>
              <a:ext uri="{FF2B5EF4-FFF2-40B4-BE49-F238E27FC236}">
                <a16:creationId xmlns:a16="http://schemas.microsoft.com/office/drawing/2014/main" id="{033CB96B-895C-44A2-B586-E02A069B7244}"/>
              </a:ext>
            </a:extLst>
          </p:cNvPr>
          <p:cNvSpPr>
            <a:spLocks noGrp="1"/>
          </p:cNvSpPr>
          <p:nvPr>
            <p:ph type="subTitle" idx="1"/>
          </p:nvPr>
        </p:nvSpPr>
        <p:spPr>
          <a:xfrm>
            <a:off x="678589" y="3730396"/>
            <a:ext cx="5286574" cy="453462"/>
          </a:xfrm>
        </p:spPr>
        <p:txBody>
          <a:bodyPr>
            <a:normAutofit/>
          </a:bodyPr>
          <a:lstStyle>
            <a:lvl1pPr marL="0" indent="0" algn="l">
              <a:lnSpc>
                <a:spcPts val="2800"/>
              </a:lnSpc>
              <a:spcBef>
                <a:spcPts val="0"/>
              </a:spcBef>
              <a:spcAft>
                <a:spcPts val="90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47" name="Straight Connector 46">
            <a:extLst>
              <a:ext uri="{FF2B5EF4-FFF2-40B4-BE49-F238E27FC236}">
                <a16:creationId xmlns:a16="http://schemas.microsoft.com/office/drawing/2014/main" id="{9BE64DBC-49DB-4799-AC70-1D5AB9C5E723}"/>
              </a:ext>
            </a:extLst>
          </p:cNvPr>
          <p:cNvCxnSpPr/>
          <p:nvPr userDrawn="1"/>
        </p:nvCxnSpPr>
        <p:spPr>
          <a:xfrm>
            <a:off x="11179926" y="6542036"/>
            <a:ext cx="0" cy="174157"/>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Footer Placeholder 2">
            <a:extLst>
              <a:ext uri="{FF2B5EF4-FFF2-40B4-BE49-F238E27FC236}">
                <a16:creationId xmlns:a16="http://schemas.microsoft.com/office/drawing/2014/main" id="{2D124122-E0EF-CA43-AE47-4C0D4F9AFBF0}"/>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chemeClr val="bg1"/>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chemeClr val="bg1"/>
                </a:solidFill>
                <a:latin typeface="Arial" panose="020B0604020202020204" pitchFamily="34" charset="0"/>
                <a:cs typeface="Arial" panose="020B0604020202020204" pitchFamily="34" charset="0"/>
              </a:rPr>
              <a:pPr algn="r"/>
              <a:t>8/17/2022</a:t>
            </a:fld>
            <a:r>
              <a:rPr lang="en-US" sz="900" b="0" i="0" dirty="0">
                <a:solidFill>
                  <a:schemeClr val="bg1"/>
                </a:solidFill>
                <a:latin typeface="Arial" panose="020B0604020202020204" pitchFamily="34" charset="0"/>
                <a:cs typeface="Arial" panose="020B0604020202020204" pitchFamily="34" charset="0"/>
              </a:rPr>
              <a:t> </a:t>
            </a:r>
          </a:p>
        </p:txBody>
      </p:sp>
      <p:pic>
        <p:nvPicPr>
          <p:cNvPr id="24" name="Picture 23">
            <a:extLst>
              <a:ext uri="{FF2B5EF4-FFF2-40B4-BE49-F238E27FC236}">
                <a16:creationId xmlns:a16="http://schemas.microsoft.com/office/drawing/2014/main" id="{04F3B027-CC7B-E14F-AF2A-DD120F6F4ED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69" y="1764369"/>
            <a:ext cx="2015066" cy="64008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35" presetClass="path" presetSubtype="0" decel="100000" fill="hold" grpId="1" nodeType="withEffect">
                                  <p:stCondLst>
                                    <p:cond delay="0"/>
                                  </p:stCondLst>
                                  <p:childTnLst>
                                    <p:animMotion origin="layout" path="M -4.375E-6 4.81481E-6 L -0.08932 4.81481E-6 " pathEditMode="relative" rAng="0" ptsTypes="AA">
                                      <p:cBhvr>
                                        <p:cTn id="12" dur="750" spd="-100000" fill="hold"/>
                                        <p:tgtEl>
                                          <p:spTgt spid="11"/>
                                        </p:tgtEl>
                                        <p:attrNameLst>
                                          <p:attrName>ppt_x</p:attrName>
                                          <p:attrName>ppt_y</p:attrName>
                                        </p:attrNameLst>
                                      </p:cBhvr>
                                      <p:rCtr x="-4466" y="0"/>
                                    </p:animMotion>
                                  </p:childTnLst>
                                </p:cTn>
                              </p:par>
                              <p:par>
                                <p:cTn id="13" presetID="10" presetClass="entr" presetSubtype="0" fill="hold" nodeType="withEffect">
                                  <p:stCondLst>
                                    <p:cond delay="50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750"/>
                                        <p:tgtEl>
                                          <p:spTgt spid="26"/>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750"/>
                                        <p:tgtEl>
                                          <p:spTgt spid="2"/>
                                        </p:tgtEl>
                                      </p:cBhvr>
                                    </p:animEffect>
                                  </p:childTnLst>
                                </p:cTn>
                              </p:par>
                              <p:par>
                                <p:cTn id="19" presetID="10" presetClass="entr" presetSubtype="0" fill="hold" grpId="0" nodeType="withEffect">
                                  <p:stCondLst>
                                    <p:cond delay="500"/>
                                  </p:stCondLst>
                                  <p:childTnLst>
                                    <p:set>
                                      <p:cBhvr>
                                        <p:cTn id="20" dur="1" fill="hold">
                                          <p:stCondLst>
                                            <p:cond delay="0"/>
                                          </p:stCondLst>
                                        </p:cTn>
                                        <p:tgtEl>
                                          <p:spTgt spid="28">
                                            <p:txEl>
                                              <p:pRg st="0" end="0"/>
                                            </p:txEl>
                                          </p:spTgt>
                                        </p:tgtEl>
                                        <p:attrNameLst>
                                          <p:attrName>style.visibility</p:attrName>
                                        </p:attrNameLst>
                                      </p:cBhvr>
                                      <p:to>
                                        <p:strVal val="visible"/>
                                      </p:to>
                                    </p:set>
                                    <p:animEffect transition="in" filter="fade">
                                      <p:cBhvr>
                                        <p:cTn id="21" dur="750"/>
                                        <p:tgtEl>
                                          <p:spTgt spid="28">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28">
                                            <p:txEl>
                                              <p:pRg st="1" end="1"/>
                                            </p:txEl>
                                          </p:spTgt>
                                        </p:tgtEl>
                                        <p:attrNameLst>
                                          <p:attrName>style.visibility</p:attrName>
                                        </p:attrNameLst>
                                      </p:cBhvr>
                                      <p:to>
                                        <p:strVal val="visible"/>
                                      </p:to>
                                    </p:set>
                                    <p:animEffect transition="in" filter="fade">
                                      <p:cBhvr>
                                        <p:cTn id="24" dur="750"/>
                                        <p:tgtEl>
                                          <p:spTgt spid="28">
                                            <p:txEl>
                                              <p:pRg st="1" end="1"/>
                                            </p:txEl>
                                          </p:spTgt>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7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2" grpId="0"/>
      <p:bldP spid="28" grpId="0" build="p">
        <p:tmplLst>
          <p:tmpl lvl="1">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750"/>
                        <p:tgtEl>
                          <p:spTgt spid="28"/>
                        </p:tgtEl>
                      </p:cBhvr>
                    </p:animEffect>
                  </p:childTnLst>
                </p:cTn>
              </p:par>
            </p:tnLst>
          </p:tmpl>
          <p:tmpl lvl="2">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750"/>
                        <p:tgtEl>
                          <p:spTgt spid="28"/>
                        </p:tgtEl>
                      </p:cBhvr>
                    </p:animEffect>
                  </p:childTnLst>
                </p:cTn>
              </p:par>
            </p:tnLst>
          </p:tmpl>
          <p:tmpl lvl="3">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750"/>
                        <p:tgtEl>
                          <p:spTgt spid="28"/>
                        </p:tgtEl>
                      </p:cBhvr>
                    </p:animEffect>
                  </p:childTnLst>
                </p:cTn>
              </p:par>
            </p:tnLst>
          </p:tmpl>
          <p:tmpl lvl="4">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750"/>
                        <p:tgtEl>
                          <p:spTgt spid="28"/>
                        </p:tgtEl>
                      </p:cBhvr>
                    </p:animEffect>
                  </p:childTnLst>
                </p:cTn>
              </p:par>
            </p:tnLst>
          </p:tmpl>
          <p:tmpl lvl="5">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750"/>
                        <p:tgtEl>
                          <p:spTgt spid="28"/>
                        </p:tgtEl>
                      </p:cBhvr>
                    </p:animEffect>
                  </p:childTnLst>
                </p:cTn>
              </p:par>
            </p:tnLst>
          </p:tmpl>
        </p:tmplLst>
      </p:bldP>
      <p:bldP spid="23" grpId="0">
        <p:tmplLst>
          <p:tmpl>
            <p:tnLst>
              <p:par>
                <p:cTn presetID="10" presetClass="entr" presetSubtype="0" fill="hold" nodeType="withEffect">
                  <p:stCondLst>
                    <p:cond delay="500"/>
                  </p:stCondLst>
                  <p:childTnLst>
                    <p:set>
                      <p:cBhvr>
                        <p:cTn dur="1" fill="hold">
                          <p:stCondLst>
                            <p:cond delay="0"/>
                          </p:stCondLst>
                        </p:cTn>
                        <p:tgtEl>
                          <p:spTgt spid="23"/>
                        </p:tgtEl>
                        <p:attrNameLst>
                          <p:attrName>style.visibility</p:attrName>
                        </p:attrNameLst>
                      </p:cBhvr>
                      <p:to>
                        <p:strVal val="visible"/>
                      </p:to>
                    </p:set>
                    <p:animEffect transition="in" filter="fade">
                      <p:cBhvr>
                        <p:cTn dur="750"/>
                        <p:tgtEl>
                          <p:spTgt spid="23"/>
                        </p:tgtEl>
                      </p:cBhvr>
                    </p:animEffect>
                  </p:childTnLst>
                </p:cTn>
              </p:par>
            </p:tnLst>
          </p:tmpl>
        </p:tmplLst>
      </p:bldP>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5BDEAC3-5B7F-D546-B93E-F020253CE87D}"/>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3352800" y="2369740"/>
            <a:ext cx="5486400" cy="2118520"/>
          </a:xfrm>
          <a:prstGeom prst="rect">
            <a:avLst/>
          </a:prstGeom>
        </p:spPr>
      </p:pic>
    </p:spTree>
    <p:extLst>
      <p:ext uri="{BB962C8B-B14F-4D97-AF65-F5344CB8AC3E}">
        <p14:creationId xmlns:p14="http://schemas.microsoft.com/office/powerpoint/2010/main" val="385716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Closing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E082DDED-BDAA-6F45-8467-D2073D3AC6A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81400" y="2630243"/>
            <a:ext cx="5029200" cy="1597514"/>
          </a:xfrm>
          <a:prstGeom prst="rect">
            <a:avLst/>
          </a:prstGeom>
        </p:spPr>
      </p:pic>
    </p:spTree>
    <p:extLst>
      <p:ext uri="{BB962C8B-B14F-4D97-AF65-F5344CB8AC3E}">
        <p14:creationId xmlns:p14="http://schemas.microsoft.com/office/powerpoint/2010/main" val="3484902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fidentiality Statem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8A6D9EF2-1078-4CF1-AE32-B8E5CFC7CD9F}" type="slidenum">
              <a:rPr lang="en-US" smtClean="0"/>
              <a:pPr/>
              <a:t>‹#›</a:t>
            </a:fld>
            <a:endParaRPr lang="en-US" dirty="0"/>
          </a:p>
        </p:txBody>
      </p:sp>
      <p:sp>
        <p:nvSpPr>
          <p:cNvPr id="5" name="Rectangle 4"/>
          <p:cNvSpPr/>
          <p:nvPr userDrawn="1"/>
        </p:nvSpPr>
        <p:spPr>
          <a:xfrm>
            <a:off x="670968" y="1940290"/>
            <a:ext cx="10850063" cy="1195135"/>
          </a:xfrm>
          <a:prstGeom prst="rect">
            <a:avLst/>
          </a:prstGeom>
        </p:spPr>
        <p:txBody>
          <a:bodyPr wrap="square" lIns="0" tIns="0" rIns="0" bIns="0">
            <a:spAutoFit/>
          </a:bodyPr>
          <a:lstStyle/>
          <a:p>
            <a:pPr marL="0" marR="0">
              <a:lnSpc>
                <a:spcPct val="150000"/>
              </a:lnSpc>
              <a:spcBef>
                <a:spcPts val="0"/>
              </a:spcBef>
              <a:spcAft>
                <a:spcPts val="0"/>
              </a:spcAft>
            </a:pPr>
            <a:r>
              <a:rPr lang="en-US" sz="1800" dirty="0">
                <a:solidFill>
                  <a:schemeClr val="tx1"/>
                </a:solidFill>
                <a:effectLst/>
                <a:latin typeface="+mn-lt"/>
                <a:ea typeface="Calibri" panose="020F0502020204030204" pitchFamily="34" charset="0"/>
                <a:cs typeface="Times New Roman" panose="02020603050405020304" pitchFamily="18" charset="0"/>
              </a:rPr>
              <a:t>This presentation may contain information that is confidential and proprietary to Ellie Mae, Inc. </a:t>
            </a:r>
            <a:br>
              <a:rPr lang="en-US" sz="1800" dirty="0">
                <a:solidFill>
                  <a:schemeClr val="tx1"/>
                </a:solidFill>
                <a:effectLst/>
                <a:latin typeface="+mn-lt"/>
                <a:ea typeface="Calibri" panose="020F0502020204030204" pitchFamily="34" charset="0"/>
                <a:cs typeface="Times New Roman" panose="02020603050405020304" pitchFamily="18" charset="0"/>
              </a:rPr>
            </a:br>
            <a:r>
              <a:rPr lang="en-US" sz="1800" dirty="0">
                <a:solidFill>
                  <a:schemeClr val="tx1"/>
                </a:solidFill>
                <a:effectLst/>
                <a:latin typeface="+mn-lt"/>
                <a:ea typeface="Calibri" panose="020F0502020204030204" pitchFamily="34" charset="0"/>
                <a:cs typeface="Times New Roman" panose="02020603050405020304" pitchFamily="18" charset="0"/>
              </a:rPr>
              <a:t>Any</a:t>
            </a:r>
            <a:r>
              <a:rPr lang="en-US" sz="1800" baseline="0" dirty="0">
                <a:solidFill>
                  <a:schemeClr val="tx1"/>
                </a:solidFill>
                <a:effectLst/>
                <a:latin typeface="+mn-lt"/>
                <a:ea typeface="Calibri" panose="020F0502020204030204" pitchFamily="34" charset="0"/>
                <a:cs typeface="Times New Roman" panose="02020603050405020304" pitchFamily="18" charset="0"/>
              </a:rPr>
              <a:t> </a:t>
            </a:r>
            <a:r>
              <a:rPr lang="en-US" sz="1800" dirty="0">
                <a:solidFill>
                  <a:schemeClr val="tx1"/>
                </a:solidFill>
                <a:effectLst/>
                <a:latin typeface="+mn-lt"/>
                <a:ea typeface="Calibri" panose="020F0502020204030204" pitchFamily="34" charset="0"/>
                <a:cs typeface="Times New Roman" panose="02020603050405020304" pitchFamily="18" charset="0"/>
              </a:rPr>
              <a:t>disclosure, reproduction, publication, or distribution of this presentation or the information</a:t>
            </a:r>
            <a:r>
              <a:rPr lang="en-US" sz="1800" baseline="0" dirty="0">
                <a:solidFill>
                  <a:schemeClr val="tx1"/>
                </a:solidFill>
                <a:effectLst/>
                <a:latin typeface="+mn-lt"/>
                <a:ea typeface="Calibri" panose="020F0502020204030204" pitchFamily="34" charset="0"/>
                <a:cs typeface="Times New Roman" panose="02020603050405020304" pitchFamily="18" charset="0"/>
              </a:rPr>
              <a:t> </a:t>
            </a:r>
            <a:r>
              <a:rPr lang="en-US" sz="1800" dirty="0">
                <a:solidFill>
                  <a:schemeClr val="tx1"/>
                </a:solidFill>
                <a:effectLst/>
                <a:latin typeface="+mn-lt"/>
                <a:ea typeface="Calibri" panose="020F0502020204030204" pitchFamily="34" charset="0"/>
                <a:cs typeface="Times New Roman" panose="02020603050405020304" pitchFamily="18" charset="0"/>
              </a:rPr>
              <a:t>within, whether in whole or in part, is strictly prohibited.</a:t>
            </a:r>
          </a:p>
        </p:txBody>
      </p:sp>
      <p:sp>
        <p:nvSpPr>
          <p:cNvPr id="15" name="Title 10"/>
          <p:cNvSpPr txBox="1">
            <a:spLocks/>
          </p:cNvSpPr>
          <p:nvPr userDrawn="1"/>
        </p:nvSpPr>
        <p:spPr>
          <a:xfrm>
            <a:off x="670968" y="246858"/>
            <a:ext cx="11521032" cy="891682"/>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3200" kern="1200" spc="150" baseline="0">
                <a:solidFill>
                  <a:schemeClr val="tx2">
                    <a:lumMod val="75000"/>
                  </a:schemeClr>
                </a:solidFill>
                <a:latin typeface="+mj-lt"/>
                <a:ea typeface="+mj-ea"/>
                <a:cs typeface="+mj-cs"/>
              </a:defRPr>
            </a:lvl1pPr>
          </a:lstStyle>
          <a:p>
            <a:r>
              <a:rPr lang="en-US" dirty="0">
                <a:solidFill>
                  <a:schemeClr val="accent2"/>
                </a:solidFill>
              </a:rPr>
              <a:t>Confidentiality Statement</a:t>
            </a:r>
          </a:p>
        </p:txBody>
      </p:sp>
      <p:grpSp>
        <p:nvGrpSpPr>
          <p:cNvPr id="10" name="Group 9">
            <a:extLst>
              <a:ext uri="{FF2B5EF4-FFF2-40B4-BE49-F238E27FC236}">
                <a16:creationId xmlns:a16="http://schemas.microsoft.com/office/drawing/2014/main" id="{060D3FC5-3B06-4ADE-AE39-95A01FD97C4C}"/>
              </a:ext>
            </a:extLst>
          </p:cNvPr>
          <p:cNvGrpSpPr/>
          <p:nvPr userDrawn="1"/>
        </p:nvGrpSpPr>
        <p:grpSpPr>
          <a:xfrm>
            <a:off x="685800" y="1315601"/>
            <a:ext cx="10820400" cy="180189"/>
            <a:chOff x="685800" y="1230120"/>
            <a:chExt cx="10820400" cy="180189"/>
          </a:xfrm>
        </p:grpSpPr>
        <p:pic>
          <p:nvPicPr>
            <p:cNvPr id="11" name="Picture 10">
              <a:extLst>
                <a:ext uri="{FF2B5EF4-FFF2-40B4-BE49-F238E27FC236}">
                  <a16:creationId xmlns:a16="http://schemas.microsoft.com/office/drawing/2014/main" id="{6A24D012-0161-4876-B840-A68B9C62B1B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2" name="Straight Connector 11">
              <a:extLst>
                <a:ext uri="{FF2B5EF4-FFF2-40B4-BE49-F238E27FC236}">
                  <a16:creationId xmlns:a16="http://schemas.microsoft.com/office/drawing/2014/main" id="{FF07EEF7-E528-4DB9-9C64-E25B7362DA6F}"/>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281CFE3C-FC57-EB4D-A574-55BB92DF1961}"/>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789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afe Harbo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8A6D9EF2-1078-4CF1-AE32-B8E5CFC7CD9F}" type="slidenum">
              <a:rPr lang="en-US" smtClean="0"/>
              <a:pPr/>
              <a:t>‹#›</a:t>
            </a:fld>
            <a:endParaRPr lang="en-US" dirty="0"/>
          </a:p>
        </p:txBody>
      </p:sp>
      <p:sp>
        <p:nvSpPr>
          <p:cNvPr id="5" name="Rectangle 4"/>
          <p:cNvSpPr/>
          <p:nvPr userDrawn="1"/>
        </p:nvSpPr>
        <p:spPr>
          <a:xfrm>
            <a:off x="670968" y="1940290"/>
            <a:ext cx="10850063" cy="3416320"/>
          </a:xfrm>
          <a:prstGeom prst="rect">
            <a:avLst/>
          </a:prstGeom>
        </p:spPr>
        <p:txBody>
          <a:bodyPr wrap="square" lIns="0" tIns="0" rIns="0" bIns="0">
            <a:spAutoFit/>
          </a:bodyPr>
          <a:lstStyle/>
          <a:p>
            <a:pPr marL="0" marR="0">
              <a:lnSpc>
                <a:spcPct val="150000"/>
              </a:lnSpc>
              <a:spcBef>
                <a:spcPts val="0"/>
              </a:spcBef>
              <a:spcAft>
                <a:spcPts val="0"/>
              </a:spcAft>
            </a:pPr>
            <a:r>
              <a:rPr lang="en-US" sz="1800" dirty="0">
                <a:solidFill>
                  <a:schemeClr val="tx1"/>
                </a:solidFill>
                <a:effectLst/>
                <a:latin typeface="+mn-lt"/>
                <a:ea typeface="Calibri" panose="020F0502020204030204" pitchFamily="34" charset="0"/>
                <a:cs typeface="Times New Roman" panose="02020603050405020304" pitchFamily="18" charset="0"/>
              </a:rPr>
              <a:t>This presentation may contain forward-looking statements under the safe harbor provisions under </a:t>
            </a:r>
            <a:br>
              <a:rPr lang="en-US" sz="1800" dirty="0">
                <a:solidFill>
                  <a:schemeClr val="tx1"/>
                </a:solidFill>
                <a:effectLst/>
                <a:latin typeface="+mn-lt"/>
                <a:ea typeface="Calibri" panose="020F0502020204030204" pitchFamily="34" charset="0"/>
                <a:cs typeface="Times New Roman" panose="02020603050405020304" pitchFamily="18" charset="0"/>
              </a:rPr>
            </a:br>
            <a:r>
              <a:rPr lang="en-US" sz="1800" dirty="0">
                <a:solidFill>
                  <a:schemeClr val="tx1"/>
                </a:solidFill>
                <a:effectLst/>
                <a:latin typeface="+mn-lt"/>
                <a:ea typeface="Calibri" panose="020F0502020204030204" pitchFamily="34" charset="0"/>
                <a:cs typeface="Times New Roman" panose="02020603050405020304" pitchFamily="18" charset="0"/>
              </a:rPr>
              <a:t>The Private Securities Litigation Reform Act of 1995. These forward-looking statements may include the company’s ability and timing to enhance the features and functionality of Encompass software and services and of new product launches. Additional risks and uncertainties related to the company’s business are discussed in the company’s Securities and Exchange Commission filings, including but not limited to the company’s most recent Annual Report on Form 10-K and Quarterly Report on Form 10-Q. Unless otherwise required by applicable laws, the company undertakes no obligation to update or revise any forward-looking statements, whether as a result of new information, future events or otherwise.</a:t>
            </a:r>
          </a:p>
        </p:txBody>
      </p:sp>
      <p:sp>
        <p:nvSpPr>
          <p:cNvPr id="15" name="Title 10"/>
          <p:cNvSpPr txBox="1">
            <a:spLocks/>
          </p:cNvSpPr>
          <p:nvPr userDrawn="1"/>
        </p:nvSpPr>
        <p:spPr>
          <a:xfrm>
            <a:off x="670968" y="246858"/>
            <a:ext cx="11521032" cy="891682"/>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3200" kern="1200" spc="150" baseline="0">
                <a:solidFill>
                  <a:schemeClr val="tx2">
                    <a:lumMod val="75000"/>
                  </a:schemeClr>
                </a:solidFill>
                <a:latin typeface="+mj-lt"/>
                <a:ea typeface="+mj-ea"/>
                <a:cs typeface="+mj-cs"/>
              </a:defRPr>
            </a:lvl1pPr>
          </a:lstStyle>
          <a:p>
            <a:r>
              <a:rPr lang="en-US" dirty="0">
                <a:solidFill>
                  <a:schemeClr val="accent2"/>
                </a:solidFill>
              </a:rPr>
              <a:t>Forward Looking Statements and Confidentiality</a:t>
            </a:r>
          </a:p>
        </p:txBody>
      </p:sp>
      <p:grpSp>
        <p:nvGrpSpPr>
          <p:cNvPr id="10" name="Group 9">
            <a:extLst>
              <a:ext uri="{FF2B5EF4-FFF2-40B4-BE49-F238E27FC236}">
                <a16:creationId xmlns:a16="http://schemas.microsoft.com/office/drawing/2014/main" id="{060D3FC5-3B06-4ADE-AE39-95A01FD97C4C}"/>
              </a:ext>
            </a:extLst>
          </p:cNvPr>
          <p:cNvGrpSpPr/>
          <p:nvPr userDrawn="1"/>
        </p:nvGrpSpPr>
        <p:grpSpPr>
          <a:xfrm>
            <a:off x="685800" y="1315601"/>
            <a:ext cx="10820400" cy="180189"/>
            <a:chOff x="685800" y="1230120"/>
            <a:chExt cx="10820400" cy="180189"/>
          </a:xfrm>
        </p:grpSpPr>
        <p:pic>
          <p:nvPicPr>
            <p:cNvPr id="11" name="Picture 10">
              <a:extLst>
                <a:ext uri="{FF2B5EF4-FFF2-40B4-BE49-F238E27FC236}">
                  <a16:creationId xmlns:a16="http://schemas.microsoft.com/office/drawing/2014/main" id="{6A24D012-0161-4876-B840-A68B9C62B1B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12" name="Straight Connector 11">
              <a:extLst>
                <a:ext uri="{FF2B5EF4-FFF2-40B4-BE49-F238E27FC236}">
                  <a16:creationId xmlns:a16="http://schemas.microsoft.com/office/drawing/2014/main" id="{FF07EEF7-E528-4DB9-9C64-E25B7362DA6F}"/>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281CFE3C-FC57-EB4D-A574-55BB92DF1961}"/>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7451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Gri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C263711-DF3C-4EFA-850A-007DAA2BA3D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B683ECC-6379-42CE-A8BE-3D94053A9695}"/>
              </a:ext>
            </a:extLst>
          </p:cNvPr>
          <p:cNvSpPr>
            <a:spLocks noGrp="1"/>
          </p:cNvSpPr>
          <p:nvPr>
            <p:ph type="sldNum" sz="quarter" idx="12"/>
          </p:nvPr>
        </p:nvSpPr>
        <p:spPr/>
        <p:txBody>
          <a:bodyPr/>
          <a:lstStyle/>
          <a:p>
            <a:fld id="{8A6D9EF2-1078-4CF1-AE32-B8E5CFC7CD9F}" type="slidenum">
              <a:rPr lang="en-US" smtClean="0"/>
              <a:pPr/>
              <a:t>‹#›</a:t>
            </a:fld>
            <a:endParaRPr lang="en-US" dirty="0"/>
          </a:p>
        </p:txBody>
      </p:sp>
      <p:grpSp>
        <p:nvGrpSpPr>
          <p:cNvPr id="5" name="Group 4">
            <a:extLst>
              <a:ext uri="{FF2B5EF4-FFF2-40B4-BE49-F238E27FC236}">
                <a16:creationId xmlns:a16="http://schemas.microsoft.com/office/drawing/2014/main" id="{134E1E1D-F0B8-4256-9660-B5B005D6E45A}"/>
              </a:ext>
            </a:extLst>
          </p:cNvPr>
          <p:cNvGrpSpPr/>
          <p:nvPr userDrawn="1"/>
        </p:nvGrpSpPr>
        <p:grpSpPr>
          <a:xfrm>
            <a:off x="0" y="0"/>
            <a:ext cx="12192001" cy="6858000"/>
            <a:chOff x="0" y="0"/>
            <a:chExt cx="12192001" cy="6858000"/>
          </a:xfrm>
        </p:grpSpPr>
        <p:grpSp>
          <p:nvGrpSpPr>
            <p:cNvPr id="6" name="Group 5">
              <a:extLst>
                <a:ext uri="{FF2B5EF4-FFF2-40B4-BE49-F238E27FC236}">
                  <a16:creationId xmlns:a16="http://schemas.microsoft.com/office/drawing/2014/main" id="{FD1C9E50-9F17-4814-88E8-AED179B1CBCC}"/>
                </a:ext>
              </a:extLst>
            </p:cNvPr>
            <p:cNvGrpSpPr/>
            <p:nvPr userDrawn="1"/>
          </p:nvGrpSpPr>
          <p:grpSpPr>
            <a:xfrm>
              <a:off x="0" y="0"/>
              <a:ext cx="12192001" cy="6858000"/>
              <a:chOff x="1" y="0"/>
              <a:chExt cx="24387176" cy="13716000"/>
            </a:xfrm>
            <a:solidFill>
              <a:schemeClr val="accent4">
                <a:alpha val="10000"/>
              </a:schemeClr>
            </a:solidFill>
          </p:grpSpPr>
          <p:sp>
            <p:nvSpPr>
              <p:cNvPr id="53" name="Rectangle 52">
                <a:extLst>
                  <a:ext uri="{FF2B5EF4-FFF2-40B4-BE49-F238E27FC236}">
                    <a16:creationId xmlns:a16="http://schemas.microsoft.com/office/drawing/2014/main" id="{E0D347B3-A424-4B60-9A86-E7F7C994A9EE}"/>
                  </a:ext>
                </a:extLst>
              </p:cNvPr>
              <p:cNvSpPr/>
              <p:nvPr userDrawn="1"/>
            </p:nvSpPr>
            <p:spPr>
              <a:xfrm>
                <a:off x="1" y="0"/>
                <a:ext cx="1342113" cy="137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a:extLst>
                  <a:ext uri="{FF2B5EF4-FFF2-40B4-BE49-F238E27FC236}">
                    <a16:creationId xmlns:a16="http://schemas.microsoft.com/office/drawing/2014/main" id="{EFA77554-50A1-451B-B462-F2947E3CB6F2}"/>
                  </a:ext>
                </a:extLst>
              </p:cNvPr>
              <p:cNvSpPr/>
              <p:nvPr userDrawn="1"/>
            </p:nvSpPr>
            <p:spPr>
              <a:xfrm rot="16200000">
                <a:off x="11609388" y="-11609387"/>
                <a:ext cx="1168400" cy="24387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BD86E514-4064-4253-9D0E-677D88BED5F6}"/>
                  </a:ext>
                </a:extLst>
              </p:cNvPr>
              <p:cNvSpPr/>
              <p:nvPr userDrawn="1"/>
            </p:nvSpPr>
            <p:spPr>
              <a:xfrm>
                <a:off x="23045064" y="0"/>
                <a:ext cx="1342113" cy="137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23D28BFD-B76D-4DBE-85EA-33C7B28C7EC4}"/>
                  </a:ext>
                </a:extLst>
              </p:cNvPr>
              <p:cNvSpPr/>
              <p:nvPr userDrawn="1"/>
            </p:nvSpPr>
            <p:spPr>
              <a:xfrm rot="16200000">
                <a:off x="11744270" y="1073095"/>
                <a:ext cx="898636" cy="243871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F12590C7-056B-4888-9A51-962D2EEDE1F7}"/>
                </a:ext>
              </a:extLst>
            </p:cNvPr>
            <p:cNvGrpSpPr/>
            <p:nvPr userDrawn="1"/>
          </p:nvGrpSpPr>
          <p:grpSpPr>
            <a:xfrm>
              <a:off x="670969" y="584199"/>
              <a:ext cx="10850063" cy="5826927"/>
              <a:chOff x="1828801" y="1822448"/>
              <a:chExt cx="20729573" cy="10068975"/>
            </a:xfrm>
            <a:solidFill>
              <a:srgbClr val="00A9ED">
                <a:alpha val="10000"/>
              </a:srgbClr>
            </a:solidFill>
          </p:grpSpPr>
          <p:grpSp>
            <p:nvGrpSpPr>
              <p:cNvPr id="8" name="Group 7">
                <a:extLst>
                  <a:ext uri="{FF2B5EF4-FFF2-40B4-BE49-F238E27FC236}">
                    <a16:creationId xmlns:a16="http://schemas.microsoft.com/office/drawing/2014/main" id="{8F0AEBCB-E0B6-4DBC-94A2-D769BBE7C59B}"/>
                  </a:ext>
                </a:extLst>
              </p:cNvPr>
              <p:cNvGrpSpPr/>
              <p:nvPr userDrawn="1"/>
            </p:nvGrpSpPr>
            <p:grpSpPr>
              <a:xfrm>
                <a:off x="1828801" y="1828800"/>
                <a:ext cx="20729573" cy="10058399"/>
                <a:chOff x="1828801" y="1828800"/>
                <a:chExt cx="20729573" cy="10058399"/>
              </a:xfrm>
              <a:grpFill/>
            </p:grpSpPr>
            <p:sp>
              <p:nvSpPr>
                <p:cNvPr id="45" name="Rectangle 44">
                  <a:extLst>
                    <a:ext uri="{FF2B5EF4-FFF2-40B4-BE49-F238E27FC236}">
                      <a16:creationId xmlns:a16="http://schemas.microsoft.com/office/drawing/2014/main" id="{6B6D98F2-4688-459D-BAC6-3C67AB82B73A}"/>
                    </a:ext>
                  </a:extLst>
                </p:cNvPr>
                <p:cNvSpPr/>
                <p:nvPr userDrawn="1"/>
              </p:nvSpPr>
              <p:spPr>
                <a:xfrm>
                  <a:off x="1828801" y="1828800"/>
                  <a:ext cx="2286000" cy="1005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3E102819-7B6F-4AA5-9A56-5C39515E9DDC}"/>
                    </a:ext>
                  </a:extLst>
                </p:cNvPr>
                <p:cNvSpPr/>
                <p:nvPr userDrawn="1"/>
              </p:nvSpPr>
              <p:spPr>
                <a:xfrm>
                  <a:off x="4463597" y="1828800"/>
                  <a:ext cx="2286000" cy="1005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CD84E3A1-65D2-4374-8820-AC143C28A273}"/>
                    </a:ext>
                  </a:extLst>
                </p:cNvPr>
                <p:cNvSpPr/>
                <p:nvPr userDrawn="1"/>
              </p:nvSpPr>
              <p:spPr>
                <a:xfrm>
                  <a:off x="7098393" y="1828800"/>
                  <a:ext cx="2286000" cy="1005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174E3372-FC89-40BB-AF0E-D03BEDE65168}"/>
                    </a:ext>
                  </a:extLst>
                </p:cNvPr>
                <p:cNvSpPr/>
                <p:nvPr userDrawn="1"/>
              </p:nvSpPr>
              <p:spPr>
                <a:xfrm>
                  <a:off x="9733189" y="1828800"/>
                  <a:ext cx="2286000" cy="1005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E17D2214-179D-4A8B-93BF-F23A1FF2800F}"/>
                    </a:ext>
                  </a:extLst>
                </p:cNvPr>
                <p:cNvSpPr/>
                <p:nvPr userDrawn="1"/>
              </p:nvSpPr>
              <p:spPr>
                <a:xfrm>
                  <a:off x="12367985" y="1828800"/>
                  <a:ext cx="2286000" cy="1005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3702BBDF-FE6D-40A8-8322-566030AE4FDC}"/>
                    </a:ext>
                  </a:extLst>
                </p:cNvPr>
                <p:cNvSpPr/>
                <p:nvPr userDrawn="1"/>
              </p:nvSpPr>
              <p:spPr>
                <a:xfrm>
                  <a:off x="15002781" y="1828800"/>
                  <a:ext cx="2286000" cy="1005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ectangle 50">
                  <a:extLst>
                    <a:ext uri="{FF2B5EF4-FFF2-40B4-BE49-F238E27FC236}">
                      <a16:creationId xmlns:a16="http://schemas.microsoft.com/office/drawing/2014/main" id="{25788C40-E370-4833-89A7-D9E8AC1883F0}"/>
                    </a:ext>
                  </a:extLst>
                </p:cNvPr>
                <p:cNvSpPr/>
                <p:nvPr userDrawn="1"/>
              </p:nvSpPr>
              <p:spPr>
                <a:xfrm>
                  <a:off x="17637577" y="1828800"/>
                  <a:ext cx="2286000" cy="1005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8E59DC92-B4B0-4F27-A3C5-B57835119B49}"/>
                    </a:ext>
                  </a:extLst>
                </p:cNvPr>
                <p:cNvSpPr/>
                <p:nvPr userDrawn="1"/>
              </p:nvSpPr>
              <p:spPr>
                <a:xfrm>
                  <a:off x="20272374" y="1828800"/>
                  <a:ext cx="2286000" cy="1005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A59EC1E2-C443-4B40-9E1D-EF2F83B8F06D}"/>
                  </a:ext>
                </a:extLst>
              </p:cNvPr>
              <p:cNvGrpSpPr/>
              <p:nvPr userDrawn="1"/>
            </p:nvGrpSpPr>
            <p:grpSpPr>
              <a:xfrm>
                <a:off x="1828801" y="1822448"/>
                <a:ext cx="20729573" cy="10068975"/>
                <a:chOff x="1828801" y="1822448"/>
                <a:chExt cx="20729573" cy="10068975"/>
              </a:xfrm>
              <a:grpFill/>
            </p:grpSpPr>
            <p:grpSp>
              <p:nvGrpSpPr>
                <p:cNvPr id="10" name="Group 9">
                  <a:extLst>
                    <a:ext uri="{FF2B5EF4-FFF2-40B4-BE49-F238E27FC236}">
                      <a16:creationId xmlns:a16="http://schemas.microsoft.com/office/drawing/2014/main" id="{209E7DD9-0E94-4692-BF45-94A3787524D4}"/>
                    </a:ext>
                  </a:extLst>
                </p:cNvPr>
                <p:cNvGrpSpPr/>
                <p:nvPr userDrawn="1"/>
              </p:nvGrpSpPr>
              <p:grpSpPr>
                <a:xfrm>
                  <a:off x="1828801" y="1822448"/>
                  <a:ext cx="20729573" cy="10068975"/>
                  <a:chOff x="1828801" y="1822448"/>
                  <a:chExt cx="20729573" cy="10068975"/>
                </a:xfrm>
                <a:grpFill/>
              </p:grpSpPr>
              <p:cxnSp>
                <p:nvCxnSpPr>
                  <p:cNvPr id="28" name="Straight Connector 27">
                    <a:extLst>
                      <a:ext uri="{FF2B5EF4-FFF2-40B4-BE49-F238E27FC236}">
                        <a16:creationId xmlns:a16="http://schemas.microsoft.com/office/drawing/2014/main" id="{940FAA1B-E1E3-4E55-9C9A-9C719BFB8E8D}"/>
                      </a:ext>
                    </a:extLst>
                  </p:cNvPr>
                  <p:cNvCxnSpPr/>
                  <p:nvPr userDrawn="1"/>
                </p:nvCxnSpPr>
                <p:spPr>
                  <a:xfrm>
                    <a:off x="1828801" y="2451759"/>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254D631-F00C-4AF2-83D9-BED1D8998F2E}"/>
                      </a:ext>
                    </a:extLst>
                  </p:cNvPr>
                  <p:cNvCxnSpPr/>
                  <p:nvPr userDrawn="1"/>
                </p:nvCxnSpPr>
                <p:spPr>
                  <a:xfrm>
                    <a:off x="1828801" y="3081070"/>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5F24F5-1498-4B09-B49B-24DE66021F53}"/>
                      </a:ext>
                    </a:extLst>
                  </p:cNvPr>
                  <p:cNvCxnSpPr/>
                  <p:nvPr userDrawn="1"/>
                </p:nvCxnSpPr>
                <p:spPr>
                  <a:xfrm>
                    <a:off x="1828801" y="3710381"/>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0C27A6-3E11-4761-8153-2D19FB215927}"/>
                      </a:ext>
                    </a:extLst>
                  </p:cNvPr>
                  <p:cNvCxnSpPr/>
                  <p:nvPr userDrawn="1"/>
                </p:nvCxnSpPr>
                <p:spPr>
                  <a:xfrm>
                    <a:off x="1828801" y="4339692"/>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A5C6699-02A3-4A54-9384-E150157A4522}"/>
                      </a:ext>
                    </a:extLst>
                  </p:cNvPr>
                  <p:cNvCxnSpPr/>
                  <p:nvPr userDrawn="1"/>
                </p:nvCxnSpPr>
                <p:spPr>
                  <a:xfrm>
                    <a:off x="1828801" y="4969003"/>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41B3EF5-75EE-40BC-9C3C-DB9995A0C0B4}"/>
                      </a:ext>
                    </a:extLst>
                  </p:cNvPr>
                  <p:cNvCxnSpPr/>
                  <p:nvPr userDrawn="1"/>
                </p:nvCxnSpPr>
                <p:spPr>
                  <a:xfrm>
                    <a:off x="1828801" y="5598314"/>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63A6C6-24C4-4189-AFDC-E4D3AB435889}"/>
                      </a:ext>
                    </a:extLst>
                  </p:cNvPr>
                  <p:cNvCxnSpPr/>
                  <p:nvPr userDrawn="1"/>
                </p:nvCxnSpPr>
                <p:spPr>
                  <a:xfrm>
                    <a:off x="1828801" y="6227625"/>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147BE9A-D1FE-47B6-8502-FF3624A41EF6}"/>
                      </a:ext>
                    </a:extLst>
                  </p:cNvPr>
                  <p:cNvCxnSpPr/>
                  <p:nvPr userDrawn="1"/>
                </p:nvCxnSpPr>
                <p:spPr>
                  <a:xfrm>
                    <a:off x="1828801" y="6856936"/>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F94FED6-A0F1-40C3-A613-9B832FFF76C0}"/>
                      </a:ext>
                    </a:extLst>
                  </p:cNvPr>
                  <p:cNvCxnSpPr/>
                  <p:nvPr userDrawn="1"/>
                </p:nvCxnSpPr>
                <p:spPr>
                  <a:xfrm>
                    <a:off x="1828801" y="7486247"/>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670C2EC-6DA3-4996-9F21-D9C9B89F9E33}"/>
                      </a:ext>
                    </a:extLst>
                  </p:cNvPr>
                  <p:cNvCxnSpPr/>
                  <p:nvPr userDrawn="1"/>
                </p:nvCxnSpPr>
                <p:spPr>
                  <a:xfrm>
                    <a:off x="1828801" y="8115558"/>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1A34048-6053-418F-BE90-AA7E8751E982}"/>
                      </a:ext>
                    </a:extLst>
                  </p:cNvPr>
                  <p:cNvCxnSpPr/>
                  <p:nvPr userDrawn="1"/>
                </p:nvCxnSpPr>
                <p:spPr>
                  <a:xfrm>
                    <a:off x="1828801" y="8744869"/>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7C48119-764D-4477-86D2-1A3D70763F4D}"/>
                      </a:ext>
                    </a:extLst>
                  </p:cNvPr>
                  <p:cNvCxnSpPr/>
                  <p:nvPr userDrawn="1"/>
                </p:nvCxnSpPr>
                <p:spPr>
                  <a:xfrm>
                    <a:off x="1828801" y="9374180"/>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DC4F768-A71A-4384-95A3-836C2AB320B2}"/>
                      </a:ext>
                    </a:extLst>
                  </p:cNvPr>
                  <p:cNvCxnSpPr/>
                  <p:nvPr userDrawn="1"/>
                </p:nvCxnSpPr>
                <p:spPr>
                  <a:xfrm>
                    <a:off x="1828801" y="10003491"/>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D676AC3-DDE4-4DE2-BC16-E2A80382A0DE}"/>
                      </a:ext>
                    </a:extLst>
                  </p:cNvPr>
                  <p:cNvCxnSpPr/>
                  <p:nvPr userDrawn="1"/>
                </p:nvCxnSpPr>
                <p:spPr>
                  <a:xfrm>
                    <a:off x="1828801" y="10632802"/>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C21DC6B-55AB-40F7-8E70-CCDAB0A259B7}"/>
                      </a:ext>
                    </a:extLst>
                  </p:cNvPr>
                  <p:cNvCxnSpPr/>
                  <p:nvPr userDrawn="1"/>
                </p:nvCxnSpPr>
                <p:spPr>
                  <a:xfrm>
                    <a:off x="1828801" y="1822448"/>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3CDBAC7-E8F2-4949-BB95-571EFF8CF3A0}"/>
                      </a:ext>
                    </a:extLst>
                  </p:cNvPr>
                  <p:cNvCxnSpPr/>
                  <p:nvPr userDrawn="1"/>
                </p:nvCxnSpPr>
                <p:spPr>
                  <a:xfrm>
                    <a:off x="1828801" y="11262113"/>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6241C85-1F21-4B82-B6B8-6E07F83220EC}"/>
                      </a:ext>
                    </a:extLst>
                  </p:cNvPr>
                  <p:cNvCxnSpPr/>
                  <p:nvPr userDrawn="1"/>
                </p:nvCxnSpPr>
                <p:spPr>
                  <a:xfrm>
                    <a:off x="1828801" y="11891423"/>
                    <a:ext cx="20729573" cy="0"/>
                  </a:xfrm>
                  <a:prstGeom prst="line">
                    <a:avLst/>
                  </a:prstGeom>
                  <a:grpFill/>
                  <a:ln>
                    <a:solidFill>
                      <a:srgbClr val="00A9ED"/>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57AEC4E9-85C0-441A-86B0-FC01C46359B4}"/>
                    </a:ext>
                  </a:extLst>
                </p:cNvPr>
                <p:cNvGrpSpPr/>
                <p:nvPr userDrawn="1"/>
              </p:nvGrpSpPr>
              <p:grpSpPr>
                <a:xfrm>
                  <a:off x="1828801" y="2129374"/>
                  <a:ext cx="20729573" cy="9439665"/>
                  <a:chOff x="1828801" y="1822448"/>
                  <a:chExt cx="20729573" cy="9439665"/>
                </a:xfrm>
                <a:grpFill/>
              </p:grpSpPr>
              <p:cxnSp>
                <p:nvCxnSpPr>
                  <p:cNvPr id="12" name="Straight Connector 11">
                    <a:extLst>
                      <a:ext uri="{FF2B5EF4-FFF2-40B4-BE49-F238E27FC236}">
                        <a16:creationId xmlns:a16="http://schemas.microsoft.com/office/drawing/2014/main" id="{46A58DBD-A78B-49C2-B769-136ED13CAC68}"/>
                      </a:ext>
                    </a:extLst>
                  </p:cNvPr>
                  <p:cNvCxnSpPr/>
                  <p:nvPr userDrawn="1"/>
                </p:nvCxnSpPr>
                <p:spPr>
                  <a:xfrm>
                    <a:off x="1828801" y="2451759"/>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112D577-D438-4C99-906D-7B32C45CF9FE}"/>
                      </a:ext>
                    </a:extLst>
                  </p:cNvPr>
                  <p:cNvCxnSpPr/>
                  <p:nvPr userDrawn="1"/>
                </p:nvCxnSpPr>
                <p:spPr>
                  <a:xfrm>
                    <a:off x="1828801" y="3081070"/>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8F53A3F-698F-4777-BAEC-B40B065402E2}"/>
                      </a:ext>
                    </a:extLst>
                  </p:cNvPr>
                  <p:cNvCxnSpPr/>
                  <p:nvPr userDrawn="1"/>
                </p:nvCxnSpPr>
                <p:spPr>
                  <a:xfrm>
                    <a:off x="1828801" y="3710381"/>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D47B092-CEF7-4C56-B159-88CF0F393733}"/>
                      </a:ext>
                    </a:extLst>
                  </p:cNvPr>
                  <p:cNvCxnSpPr/>
                  <p:nvPr userDrawn="1"/>
                </p:nvCxnSpPr>
                <p:spPr>
                  <a:xfrm>
                    <a:off x="1828801" y="4339692"/>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F8F6C4D-DD1D-4BA6-AD90-7EA309282126}"/>
                      </a:ext>
                    </a:extLst>
                  </p:cNvPr>
                  <p:cNvCxnSpPr/>
                  <p:nvPr userDrawn="1"/>
                </p:nvCxnSpPr>
                <p:spPr>
                  <a:xfrm>
                    <a:off x="1828801" y="4969003"/>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16FE835-D7A2-4DD5-B6BD-F6613B456D1F}"/>
                      </a:ext>
                    </a:extLst>
                  </p:cNvPr>
                  <p:cNvCxnSpPr/>
                  <p:nvPr userDrawn="1"/>
                </p:nvCxnSpPr>
                <p:spPr>
                  <a:xfrm>
                    <a:off x="1828801" y="5598314"/>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1F6DFB2-2683-42F5-A504-6D5C50A36174}"/>
                      </a:ext>
                    </a:extLst>
                  </p:cNvPr>
                  <p:cNvCxnSpPr/>
                  <p:nvPr userDrawn="1"/>
                </p:nvCxnSpPr>
                <p:spPr>
                  <a:xfrm>
                    <a:off x="1828801" y="6227625"/>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26474A5-E6D7-4022-9D69-23B8303BA31F}"/>
                      </a:ext>
                    </a:extLst>
                  </p:cNvPr>
                  <p:cNvCxnSpPr/>
                  <p:nvPr userDrawn="1"/>
                </p:nvCxnSpPr>
                <p:spPr>
                  <a:xfrm>
                    <a:off x="1828801" y="6856936"/>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A32017-80E3-4AE8-941C-7FA0305BCD86}"/>
                      </a:ext>
                    </a:extLst>
                  </p:cNvPr>
                  <p:cNvCxnSpPr/>
                  <p:nvPr userDrawn="1"/>
                </p:nvCxnSpPr>
                <p:spPr>
                  <a:xfrm>
                    <a:off x="1828801" y="7486247"/>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A66C79F-76AC-4F34-A94D-1DC524E77A69}"/>
                      </a:ext>
                    </a:extLst>
                  </p:cNvPr>
                  <p:cNvCxnSpPr/>
                  <p:nvPr userDrawn="1"/>
                </p:nvCxnSpPr>
                <p:spPr>
                  <a:xfrm>
                    <a:off x="1828801" y="8115558"/>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CCFE51-8767-49B4-AD1E-0E74B31D7615}"/>
                      </a:ext>
                    </a:extLst>
                  </p:cNvPr>
                  <p:cNvCxnSpPr/>
                  <p:nvPr userDrawn="1"/>
                </p:nvCxnSpPr>
                <p:spPr>
                  <a:xfrm>
                    <a:off x="1828801" y="8744869"/>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CC3E34E-6796-4607-A5FE-F63BACF0F112}"/>
                      </a:ext>
                    </a:extLst>
                  </p:cNvPr>
                  <p:cNvCxnSpPr/>
                  <p:nvPr userDrawn="1"/>
                </p:nvCxnSpPr>
                <p:spPr>
                  <a:xfrm>
                    <a:off x="1828801" y="9374180"/>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F187885-7059-4ECB-AEE8-023F02A9761A}"/>
                      </a:ext>
                    </a:extLst>
                  </p:cNvPr>
                  <p:cNvCxnSpPr/>
                  <p:nvPr userDrawn="1"/>
                </p:nvCxnSpPr>
                <p:spPr>
                  <a:xfrm>
                    <a:off x="1828801" y="10003491"/>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EF5A18D-F178-46CF-BFAC-36F208228361}"/>
                      </a:ext>
                    </a:extLst>
                  </p:cNvPr>
                  <p:cNvCxnSpPr/>
                  <p:nvPr userDrawn="1"/>
                </p:nvCxnSpPr>
                <p:spPr>
                  <a:xfrm>
                    <a:off x="1828801" y="10632802"/>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3CF55BE-9EB9-4399-B527-00BF781E39E1}"/>
                      </a:ext>
                    </a:extLst>
                  </p:cNvPr>
                  <p:cNvCxnSpPr/>
                  <p:nvPr userDrawn="1"/>
                </p:nvCxnSpPr>
                <p:spPr>
                  <a:xfrm>
                    <a:off x="1828801" y="1822448"/>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A37BBBA-03F8-4265-B331-A78DAB88D94B}"/>
                      </a:ext>
                    </a:extLst>
                  </p:cNvPr>
                  <p:cNvCxnSpPr/>
                  <p:nvPr userDrawn="1"/>
                </p:nvCxnSpPr>
                <p:spPr>
                  <a:xfrm>
                    <a:off x="1828801" y="11262113"/>
                    <a:ext cx="20729573" cy="0"/>
                  </a:xfrm>
                  <a:prstGeom prst="line">
                    <a:avLst/>
                  </a:prstGeom>
                  <a:grpFill/>
                  <a:ln>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grpSp>
        </p:grpSp>
      </p:grpSp>
    </p:spTree>
    <p:extLst>
      <p:ext uri="{BB962C8B-B14F-4D97-AF65-F5344CB8AC3E}">
        <p14:creationId xmlns:p14="http://schemas.microsoft.com/office/powerpoint/2010/main" val="127141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Do Not Use">
    <p:spTree>
      <p:nvGrpSpPr>
        <p:cNvPr id="1" name=""/>
        <p:cNvGrpSpPr/>
        <p:nvPr/>
      </p:nvGrpSpPr>
      <p:grpSpPr>
        <a:xfrm>
          <a:off x="0" y="0"/>
          <a:ext cx="0" cy="0"/>
          <a:chOff x="0" y="0"/>
          <a:chExt cx="0" cy="0"/>
        </a:xfrm>
      </p:grpSpPr>
      <p:sp>
        <p:nvSpPr>
          <p:cNvPr id="2" name="Rectangle 1"/>
          <p:cNvSpPr/>
          <p:nvPr userDrawn="1"/>
        </p:nvSpPr>
        <p:spPr>
          <a:xfrm>
            <a:off x="190500" y="175260"/>
            <a:ext cx="11811000" cy="65074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Box 56"/>
          <p:cNvSpPr txBox="1"/>
          <p:nvPr userDrawn="1"/>
        </p:nvSpPr>
        <p:spPr>
          <a:xfrm>
            <a:off x="2689496" y="1833088"/>
            <a:ext cx="6559989" cy="2123658"/>
          </a:xfrm>
          <a:prstGeom prst="rect">
            <a:avLst/>
          </a:prstGeom>
          <a:noFill/>
        </p:spPr>
        <p:txBody>
          <a:bodyPr wrap="square" rtlCol="0">
            <a:spAutoFit/>
          </a:bodyPr>
          <a:lstStyle/>
          <a:p>
            <a:pPr algn="ctr"/>
            <a:r>
              <a:rPr lang="en-US" sz="4400" dirty="0">
                <a:solidFill>
                  <a:schemeClr val="bg1"/>
                </a:solidFill>
              </a:rPr>
              <a:t>DO NOT USE </a:t>
            </a:r>
            <a:br>
              <a:rPr lang="en-US" sz="4400" dirty="0">
                <a:solidFill>
                  <a:schemeClr val="bg1"/>
                </a:solidFill>
              </a:rPr>
            </a:br>
            <a:r>
              <a:rPr lang="en-US" sz="4400" dirty="0">
                <a:solidFill>
                  <a:schemeClr val="bg1"/>
                </a:solidFill>
              </a:rPr>
              <a:t>THIS MASTER LAYOUT</a:t>
            </a:r>
          </a:p>
        </p:txBody>
      </p:sp>
      <p:sp>
        <p:nvSpPr>
          <p:cNvPr id="58" name="TextBox 57"/>
          <p:cNvSpPr txBox="1"/>
          <p:nvPr userDrawn="1"/>
        </p:nvSpPr>
        <p:spPr>
          <a:xfrm>
            <a:off x="2000697" y="3772080"/>
            <a:ext cx="7937587" cy="1815882"/>
          </a:xfrm>
          <a:prstGeom prst="rect">
            <a:avLst/>
          </a:prstGeom>
          <a:noFill/>
        </p:spPr>
        <p:txBody>
          <a:bodyPr wrap="square" rtlCol="0">
            <a:spAutoFit/>
          </a:bodyPr>
          <a:lstStyle/>
          <a:p>
            <a:pPr algn="ctr"/>
            <a:r>
              <a:rPr lang="en-US" sz="2800" dirty="0">
                <a:solidFill>
                  <a:schemeClr val="bg1"/>
                </a:solidFill>
              </a:rPr>
              <a:t>This</a:t>
            </a:r>
            <a:r>
              <a:rPr lang="en-US" sz="2800" baseline="0" dirty="0">
                <a:solidFill>
                  <a:schemeClr val="bg1"/>
                </a:solidFill>
              </a:rPr>
              <a:t> acts as a marker for the official </a:t>
            </a:r>
            <a:br>
              <a:rPr lang="en-US" sz="2800" baseline="0" dirty="0">
                <a:solidFill>
                  <a:schemeClr val="bg1"/>
                </a:solidFill>
              </a:rPr>
            </a:br>
            <a:r>
              <a:rPr lang="en-US" sz="2800" baseline="0" dirty="0">
                <a:solidFill>
                  <a:schemeClr val="bg1"/>
                </a:solidFill>
              </a:rPr>
              <a:t>ICE Mortgage Technology 2020 template. </a:t>
            </a:r>
            <a:br>
              <a:rPr lang="en-US" sz="2800" baseline="0" dirty="0">
                <a:solidFill>
                  <a:schemeClr val="bg1"/>
                </a:solidFill>
              </a:rPr>
            </a:br>
            <a:r>
              <a:rPr lang="en-US" sz="2800" baseline="0" dirty="0">
                <a:solidFill>
                  <a:schemeClr val="bg1"/>
                </a:solidFill>
              </a:rPr>
              <a:t>Any master slides appearing after this are </a:t>
            </a:r>
            <a:br>
              <a:rPr lang="en-US" sz="2800" baseline="0" dirty="0">
                <a:solidFill>
                  <a:schemeClr val="bg1"/>
                </a:solidFill>
              </a:rPr>
            </a:br>
            <a:r>
              <a:rPr lang="en-US" sz="2800" b="1" baseline="0" dirty="0">
                <a:solidFill>
                  <a:schemeClr val="bg1"/>
                </a:solidFill>
              </a:rPr>
              <a:t>rogue slides </a:t>
            </a:r>
            <a:r>
              <a:rPr lang="en-US" sz="2800" baseline="0" dirty="0">
                <a:solidFill>
                  <a:schemeClr val="bg1"/>
                </a:solidFill>
              </a:rPr>
              <a:t>and should be deleted.</a:t>
            </a:r>
            <a:endParaRPr lang="en-US" sz="28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Two Content Chart/Tab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619966B-5DAE-D64A-846F-DE28E4B99BCD}"/>
              </a:ext>
            </a:extLst>
          </p:cNvPr>
          <p:cNvSpPr/>
          <p:nvPr userDrawn="1">
            <p:custDataLst>
              <p:tags r:id="rId1"/>
            </p:custDataLst>
          </p:nvPr>
        </p:nvSpPr>
        <p:spPr>
          <a:xfrm>
            <a:off x="670969" y="1575926"/>
            <a:ext cx="10850062" cy="4725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Content Placeholder 2">
            <a:extLst>
              <a:ext uri="{FF2B5EF4-FFF2-40B4-BE49-F238E27FC236}">
                <a16:creationId xmlns:a16="http://schemas.microsoft.com/office/drawing/2014/main" id="{841D1B3B-DE87-7641-B0DF-7AA685A4658C}"/>
              </a:ext>
            </a:extLst>
          </p:cNvPr>
          <p:cNvSpPr>
            <a:spLocks noGrp="1"/>
          </p:cNvSpPr>
          <p:nvPr>
            <p:ph idx="15"/>
          </p:nvPr>
        </p:nvSpPr>
        <p:spPr>
          <a:xfrm>
            <a:off x="6198956" y="2045369"/>
            <a:ext cx="4777854" cy="4002764"/>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13" name="Content Placeholder 2">
            <a:extLst>
              <a:ext uri="{FF2B5EF4-FFF2-40B4-BE49-F238E27FC236}">
                <a16:creationId xmlns:a16="http://schemas.microsoft.com/office/drawing/2014/main" id="{B20FFA0C-8A86-534E-954F-2865C561BC04}"/>
              </a:ext>
            </a:extLst>
          </p:cNvPr>
          <p:cNvSpPr>
            <a:spLocks noGrp="1"/>
          </p:cNvSpPr>
          <p:nvPr>
            <p:ph idx="14"/>
          </p:nvPr>
        </p:nvSpPr>
        <p:spPr>
          <a:xfrm>
            <a:off x="1215190" y="2045369"/>
            <a:ext cx="3938702" cy="4002764"/>
          </a:xfrm>
        </p:spPr>
        <p:txBody>
          <a:bodyPr/>
          <a:lstStyle>
            <a:lvl1pPr>
              <a:lnSpc>
                <a:spcPts val="2800"/>
              </a:lnSpc>
              <a:spcBef>
                <a:spcPts val="0"/>
              </a:spcBef>
              <a:spcAft>
                <a:spcPts val="900"/>
              </a:spcAft>
              <a:defRPr/>
            </a:lvl1pPr>
            <a:lvl2pPr indent="-228600">
              <a:lnSpc>
                <a:spcPts val="2400"/>
              </a:lnSpc>
              <a:spcAft>
                <a:spcPts val="900"/>
              </a:spcAft>
              <a:defRPr/>
            </a:lvl2pPr>
            <a:lvl3pPr marL="685800" indent="-228600">
              <a:lnSpc>
                <a:spcPts val="2200"/>
              </a:lnSpc>
              <a:spcAft>
                <a:spcPts val="900"/>
              </a:spcAft>
              <a:defRPr/>
            </a:lvl3pPr>
            <a:lvl4pPr marL="0">
              <a:lnSpc>
                <a:spcPts val="2800"/>
              </a:lnSpc>
              <a:spcBef>
                <a:spcPts val="1200"/>
              </a:spcBef>
              <a:spcAft>
                <a:spcPts val="900"/>
              </a:spcAft>
              <a:defRPr/>
            </a:lvl4pPr>
            <a:lvl5pPr marL="0">
              <a:lnSpc>
                <a:spcPts val="2400"/>
              </a:lnSpc>
              <a:spcBef>
                <a:spcPts val="0"/>
              </a:spcBef>
              <a:spcAft>
                <a:spcPts val="900"/>
              </a:spcAft>
              <a:defRPr/>
            </a:lvl5pPr>
            <a:lvl6pPr marL="0">
              <a:lnSpc>
                <a:spcPts val="2200"/>
              </a:lnSpc>
              <a:spcBef>
                <a:spcPts val="0"/>
              </a:spcBef>
              <a:spcAft>
                <a:spcPts val="900"/>
              </a:spcAf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p:txBody>
      </p:sp>
      <p:sp>
        <p:nvSpPr>
          <p:cNvPr id="2" name="Title 1">
            <a:extLst>
              <a:ext uri="{FF2B5EF4-FFF2-40B4-BE49-F238E27FC236}">
                <a16:creationId xmlns:a16="http://schemas.microsoft.com/office/drawing/2014/main" id="{5CF704F1-3A31-4CB0-B424-E19EEBAA6701}"/>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DB18F8F1-9636-44A9-9B23-1F25160B39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p>
            <a:fld id="{8A6D9EF2-1078-4CF1-AE32-B8E5CFC7CD9F}" type="slidenum">
              <a:rPr lang="en-US" smtClean="0"/>
              <a:pPr/>
              <a:t>‹#›</a:t>
            </a:fld>
            <a:endParaRPr lang="en-US" dirty="0"/>
          </a:p>
        </p:txBody>
      </p:sp>
      <p:pic>
        <p:nvPicPr>
          <p:cNvPr id="14" name="Picture 13">
            <a:extLst>
              <a:ext uri="{FF2B5EF4-FFF2-40B4-BE49-F238E27FC236}">
                <a16:creationId xmlns:a16="http://schemas.microsoft.com/office/drawing/2014/main" id="{93DA6622-2397-4CA5-8051-CF32CD101CEE}"/>
              </a:ext>
            </a:extLst>
          </p:cNvPr>
          <p:cNvPicPr>
            <a:picLocks/>
          </p:cNvPicPr>
          <p:nvPr userDrawn="1"/>
        </p:nvPicPr>
        <p:blipFill>
          <a:blip r:embed="rId3">
            <a:alphaModFix amt="20000"/>
            <a:extLst>
              <a:ext uri="{28A0092B-C50C-407E-A947-70E740481C1C}">
                <a14:useLocalDpi xmlns:a14="http://schemas.microsoft.com/office/drawing/2010/main"/>
              </a:ext>
            </a:extLst>
          </a:blip>
          <a:stretch>
            <a:fillRect/>
          </a:stretch>
        </p:blipFill>
        <p:spPr>
          <a:xfrm rot="16200000">
            <a:off x="3314145" y="3852673"/>
            <a:ext cx="4491203" cy="172088"/>
          </a:xfrm>
          <a:prstGeom prst="rect">
            <a:avLst/>
          </a:prstGeom>
        </p:spPr>
      </p:pic>
      <p:grpSp>
        <p:nvGrpSpPr>
          <p:cNvPr id="68" name="Group 67">
            <a:extLst>
              <a:ext uri="{FF2B5EF4-FFF2-40B4-BE49-F238E27FC236}">
                <a16:creationId xmlns:a16="http://schemas.microsoft.com/office/drawing/2014/main" id="{3C33BF09-BEBF-4FF1-BBE0-672B40958D29}"/>
              </a:ext>
            </a:extLst>
          </p:cNvPr>
          <p:cNvGrpSpPr/>
          <p:nvPr userDrawn="1"/>
        </p:nvGrpSpPr>
        <p:grpSpPr>
          <a:xfrm>
            <a:off x="685800" y="1315691"/>
            <a:ext cx="10820400" cy="180189"/>
            <a:chOff x="685800" y="1230120"/>
            <a:chExt cx="10820400" cy="180189"/>
          </a:xfrm>
        </p:grpSpPr>
        <p:pic>
          <p:nvPicPr>
            <p:cNvPr id="69" name="Picture 68">
              <a:extLst>
                <a:ext uri="{FF2B5EF4-FFF2-40B4-BE49-F238E27FC236}">
                  <a16:creationId xmlns:a16="http://schemas.microsoft.com/office/drawing/2014/main" id="{0E6ABB16-2DED-4FBB-8286-AF87E40D22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5800" y="1230120"/>
              <a:ext cx="10820400" cy="180189"/>
            </a:xfrm>
            <a:prstGeom prst="rect">
              <a:avLst/>
            </a:prstGeom>
          </p:spPr>
        </p:pic>
        <p:cxnSp>
          <p:nvCxnSpPr>
            <p:cNvPr id="70" name="Straight Connector 69">
              <a:extLst>
                <a:ext uri="{FF2B5EF4-FFF2-40B4-BE49-F238E27FC236}">
                  <a16:creationId xmlns:a16="http://schemas.microsoft.com/office/drawing/2014/main" id="{FA29FA10-8B04-4E8F-B172-A4B8C8783AD9}"/>
                </a:ext>
              </a:extLst>
            </p:cNvPr>
            <p:cNvCxnSpPr>
              <a:cxnSpLocks/>
            </p:cNvCxnSpPr>
            <p:nvPr/>
          </p:nvCxnSpPr>
          <p:spPr>
            <a:xfrm>
              <a:off x="685800" y="1232770"/>
              <a:ext cx="10820400" cy="0"/>
            </a:xfrm>
            <a:prstGeom prst="line">
              <a:avLst/>
            </a:prstGeom>
            <a:ln w="15875" cap="rnd">
              <a:solidFill>
                <a:srgbClr val="003555"/>
              </a:solidFil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0CB7039B-22C5-1A48-9EE4-3F2101FBAFAC}"/>
              </a:ext>
            </a:extLst>
          </p:cNvPr>
          <p:cNvSpPr/>
          <p:nvPr userDrawn="1"/>
        </p:nvSpPr>
        <p:spPr>
          <a:xfrm>
            <a:off x="670969" y="-1"/>
            <a:ext cx="10850062"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0259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Illustration Welcome Mat">
    <p:bg>
      <p:bgPr>
        <a:solidFill>
          <a:srgbClr val="00518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88E594-86DE-614A-B255-A2C8BB23DDC9}"/>
              </a:ext>
            </a:extLst>
          </p:cNvPr>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3632205" y="-427990"/>
            <a:ext cx="9750362" cy="8298180"/>
          </a:xfrm>
          <a:prstGeom prst="rect">
            <a:avLst/>
          </a:prstGeom>
        </p:spPr>
      </p:pic>
      <p:cxnSp>
        <p:nvCxnSpPr>
          <p:cNvPr id="53" name="Straight Connector 52">
            <a:extLst>
              <a:ext uri="{FF2B5EF4-FFF2-40B4-BE49-F238E27FC236}">
                <a16:creationId xmlns:a16="http://schemas.microsoft.com/office/drawing/2014/main" id="{2FDED956-499F-DC44-9C96-E6EC269C87F4}"/>
              </a:ext>
            </a:extLst>
          </p:cNvPr>
          <p:cNvCxnSpPr>
            <a:cxnSpLocks/>
          </p:cNvCxnSpPr>
          <p:nvPr userDrawn="1"/>
        </p:nvCxnSpPr>
        <p:spPr>
          <a:xfrm>
            <a:off x="673281" y="3920604"/>
            <a:ext cx="1194254" cy="0"/>
          </a:xfrm>
          <a:prstGeom prst="line">
            <a:avLst/>
          </a:prstGeom>
          <a:ln w="31750">
            <a:solidFill>
              <a:srgbClr val="8AE7FF"/>
            </a:solidFill>
          </a:ln>
        </p:spPr>
        <p:style>
          <a:lnRef idx="1">
            <a:schemeClr val="accent1"/>
          </a:lnRef>
          <a:fillRef idx="0">
            <a:schemeClr val="accent1"/>
          </a:fillRef>
          <a:effectRef idx="0">
            <a:schemeClr val="accent1"/>
          </a:effectRef>
          <a:fontRef idx="minor">
            <a:schemeClr val="tx1"/>
          </a:fontRef>
        </p:style>
      </p:cxnSp>
      <p:sp>
        <p:nvSpPr>
          <p:cNvPr id="54" name="Title 1">
            <a:extLst>
              <a:ext uri="{FF2B5EF4-FFF2-40B4-BE49-F238E27FC236}">
                <a16:creationId xmlns:a16="http://schemas.microsoft.com/office/drawing/2014/main" id="{81F2C18A-8478-A54B-971E-9B141616A06F}"/>
              </a:ext>
            </a:extLst>
          </p:cNvPr>
          <p:cNvSpPr>
            <a:spLocks noGrp="1"/>
          </p:cNvSpPr>
          <p:nvPr>
            <p:ph type="ctrTitle"/>
          </p:nvPr>
        </p:nvSpPr>
        <p:spPr>
          <a:xfrm>
            <a:off x="679631" y="1929661"/>
            <a:ext cx="7251031" cy="1749760"/>
          </a:xfrm>
        </p:spPr>
        <p:txBody>
          <a:bodyPr anchor="b">
            <a:normAutofit/>
          </a:bodyPr>
          <a:lstStyle>
            <a:lvl1pPr algn="l">
              <a:lnSpc>
                <a:spcPts val="4400"/>
              </a:lnSpc>
              <a:defRPr sz="4000" b="0" spc="60" baseline="0">
                <a:solidFill>
                  <a:schemeClr val="tx1"/>
                </a:solidFill>
              </a:defRPr>
            </a:lvl1pPr>
          </a:lstStyle>
          <a:p>
            <a:r>
              <a:rPr lang="en-US" dirty="0"/>
              <a:t>Click to edit Master title style</a:t>
            </a:r>
          </a:p>
        </p:txBody>
      </p:sp>
      <p:sp>
        <p:nvSpPr>
          <p:cNvPr id="55" name="Subtitle 2">
            <a:extLst>
              <a:ext uri="{FF2B5EF4-FFF2-40B4-BE49-F238E27FC236}">
                <a16:creationId xmlns:a16="http://schemas.microsoft.com/office/drawing/2014/main" id="{51E8A936-F1F3-8344-A44D-68F332DDA8E4}"/>
              </a:ext>
            </a:extLst>
          </p:cNvPr>
          <p:cNvSpPr>
            <a:spLocks noGrp="1"/>
          </p:cNvSpPr>
          <p:nvPr>
            <p:ph type="subTitle" idx="1"/>
          </p:nvPr>
        </p:nvSpPr>
        <p:spPr>
          <a:xfrm>
            <a:off x="670969" y="4161786"/>
            <a:ext cx="5286574" cy="453462"/>
          </a:xfrm>
        </p:spPr>
        <p:txBody>
          <a:bodyPr>
            <a:normAutofit/>
          </a:bodyPr>
          <a:lstStyle>
            <a:lvl1pPr marL="0" indent="0" algn="l">
              <a:buNone/>
              <a:defRPr sz="2800">
                <a:solidFill>
                  <a:srgbClr val="8AE7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7" name="Text Placeholder 21">
            <a:extLst>
              <a:ext uri="{FF2B5EF4-FFF2-40B4-BE49-F238E27FC236}">
                <a16:creationId xmlns:a16="http://schemas.microsoft.com/office/drawing/2014/main" id="{56044AE4-2866-D44D-83A1-FB2BB70B8432}"/>
              </a:ext>
            </a:extLst>
          </p:cNvPr>
          <p:cNvSpPr>
            <a:spLocks noGrp="1"/>
          </p:cNvSpPr>
          <p:nvPr>
            <p:ph type="body" sz="quarter" idx="13"/>
          </p:nvPr>
        </p:nvSpPr>
        <p:spPr>
          <a:xfrm>
            <a:off x="670969" y="4808982"/>
            <a:ext cx="5301815" cy="1600610"/>
          </a:xfrm>
        </p:spPr>
        <p:txBody>
          <a:bodyPr>
            <a:normAutofit/>
          </a:bodyPr>
          <a:lstStyle>
            <a:lvl1pPr marL="19050" indent="0">
              <a:spcBef>
                <a:spcPts val="0"/>
              </a:spcBef>
              <a:buFont typeface=".AppleSystemUIFont" charset="-120"/>
              <a:buChar char="​"/>
              <a:tabLst/>
              <a:defRPr sz="2400" b="0">
                <a:solidFill>
                  <a:srgbClr val="8AE7FF"/>
                </a:solidFill>
              </a:defRPr>
            </a:lvl1pPr>
            <a:lvl2pPr marL="19050" indent="0">
              <a:spcBef>
                <a:spcPts val="0"/>
              </a:spcBef>
              <a:buFont typeface=".AppleSystemUIFont" charset="-120"/>
              <a:buChar char="​"/>
              <a:tabLst/>
              <a:defRPr sz="2400" b="0">
                <a:solidFill>
                  <a:schemeClr val="accent1">
                    <a:lumMod val="40000"/>
                    <a:lumOff val="60000"/>
                  </a:schemeClr>
                </a:solidFill>
              </a:defRPr>
            </a:lvl2pPr>
            <a:lvl3pPr marL="19050" indent="0">
              <a:spcBef>
                <a:spcPts val="0"/>
              </a:spcBef>
              <a:buFont typeface=".AppleSystemUIFont" charset="-120"/>
              <a:buChar char="​"/>
              <a:tabLst/>
              <a:defRPr sz="2400" b="0">
                <a:solidFill>
                  <a:schemeClr val="accent1">
                    <a:lumMod val="40000"/>
                    <a:lumOff val="60000"/>
                  </a:schemeClr>
                </a:solidFill>
              </a:defRPr>
            </a:lvl3pPr>
            <a:lvl4pPr>
              <a:spcBef>
                <a:spcPts val="0"/>
              </a:spcBef>
              <a:defRPr sz="2400" b="0">
                <a:solidFill>
                  <a:schemeClr val="accent1">
                    <a:lumMod val="40000"/>
                    <a:lumOff val="60000"/>
                  </a:schemeClr>
                </a:solidFill>
              </a:defRPr>
            </a:lvl4pPr>
            <a:lvl5pPr>
              <a:spcBef>
                <a:spcPts val="0"/>
              </a:spcBef>
              <a:defRPr sz="2400" b="0">
                <a:solidFill>
                  <a:schemeClr val="accent1">
                    <a:lumMod val="40000"/>
                    <a:lumOff val="60000"/>
                  </a:schemeClr>
                </a:solidFill>
              </a:defRPr>
            </a:lvl5pPr>
            <a:lvl6pPr>
              <a:spcBef>
                <a:spcPts val="0"/>
              </a:spcBef>
              <a:spcAft>
                <a:spcPts val="600"/>
              </a:spcAft>
              <a:defRPr sz="1800">
                <a:solidFill>
                  <a:schemeClr val="accent1">
                    <a:lumMod val="40000"/>
                    <a:lumOff val="60000"/>
                  </a:schemeClr>
                </a:solidFill>
              </a:defRPr>
            </a:lvl6pPr>
            <a:lvl7pPr>
              <a:spcBef>
                <a:spcPts val="0"/>
              </a:spcBef>
              <a:spcAft>
                <a:spcPts val="600"/>
              </a:spcAft>
              <a:defRPr sz="1800">
                <a:solidFill>
                  <a:schemeClr val="accent1">
                    <a:lumMod val="40000"/>
                    <a:lumOff val="60000"/>
                  </a:schemeClr>
                </a:solidFill>
              </a:defRPr>
            </a:lvl7pPr>
            <a:lvl8pPr>
              <a:spcBef>
                <a:spcPts val="0"/>
              </a:spcBef>
              <a:spcAft>
                <a:spcPts val="600"/>
              </a:spcAft>
              <a:defRPr sz="1800">
                <a:solidFill>
                  <a:schemeClr val="accent1">
                    <a:lumMod val="40000"/>
                    <a:lumOff val="60000"/>
                  </a:schemeClr>
                </a:solidFill>
              </a:defRPr>
            </a:lvl8pPr>
            <a:lvl9pPr>
              <a:spcBef>
                <a:spcPts val="0"/>
              </a:spcBef>
              <a:spcAft>
                <a:spcPts val="600"/>
              </a:spcAft>
              <a:defRPr sz="1800">
                <a:solidFill>
                  <a:schemeClr val="accent1">
                    <a:lumMod val="40000"/>
                    <a:lumOff val="60000"/>
                  </a:schemeClr>
                </a:solidFill>
              </a:defRPr>
            </a:lvl9pPr>
          </a:lstStyle>
          <a:p>
            <a:pPr lvl="0"/>
            <a:r>
              <a:rPr lang="en-US" dirty="0"/>
              <a:t>Click to edit Master text styles</a:t>
            </a:r>
          </a:p>
        </p:txBody>
      </p:sp>
      <p:sp>
        <p:nvSpPr>
          <p:cNvPr id="58" name="Footer Placeholder 2">
            <a:extLst>
              <a:ext uri="{FF2B5EF4-FFF2-40B4-BE49-F238E27FC236}">
                <a16:creationId xmlns:a16="http://schemas.microsoft.com/office/drawing/2014/main" id="{50F3C154-287B-7E4F-B8D3-4D1FC1CEEA43}"/>
              </a:ext>
            </a:extLst>
          </p:cNvPr>
          <p:cNvSpPr txBox="1">
            <a:spLocks/>
          </p:cNvSpPr>
          <p:nvPr userDrawn="1"/>
        </p:nvSpPr>
        <p:spPr>
          <a:xfrm>
            <a:off x="670969" y="6559095"/>
            <a:ext cx="289342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i="0" dirty="0">
                <a:solidFill>
                  <a:srgbClr val="FFFFFF"/>
                </a:solidFill>
                <a:latin typeface="Arial" panose="020B0604020202020204" pitchFamily="34" charset="0"/>
                <a:cs typeface="Arial" panose="020B0604020202020204" pitchFamily="34" charset="0"/>
              </a:rPr>
              <a:t>© ICE Mortgage Technology. All rights reserved. </a:t>
            </a:r>
            <a:fld id="{B3B1E8A1-168D-4243-9708-A76A30C359D9}" type="datetime1">
              <a:rPr lang="en-US" sz="900" b="0" i="0" smtClean="0">
                <a:solidFill>
                  <a:srgbClr val="FFFFFF"/>
                </a:solidFill>
                <a:latin typeface="Arial" panose="020B0604020202020204" pitchFamily="34" charset="0"/>
                <a:cs typeface="Arial" panose="020B0604020202020204" pitchFamily="34" charset="0"/>
              </a:rPr>
              <a:pPr algn="l"/>
              <a:t>8/17/2022</a:t>
            </a:fld>
            <a:endParaRPr lang="en-US" sz="900" b="0" i="0" dirty="0">
              <a:solidFill>
                <a:srgbClr val="FFFFFF"/>
              </a:solidFill>
              <a:latin typeface="Arial" panose="020B0604020202020204" pitchFamily="34" charset="0"/>
              <a:cs typeface="Arial" panose="020B0604020202020204" pitchFamily="34" charset="0"/>
            </a:endParaRPr>
          </a:p>
        </p:txBody>
      </p:sp>
      <p:pic>
        <p:nvPicPr>
          <p:cNvPr id="59" name="Picture 58" descr="A picture containing drawing&#10;&#10;Description automatically generated">
            <a:extLst>
              <a:ext uri="{FF2B5EF4-FFF2-40B4-BE49-F238E27FC236}">
                <a16:creationId xmlns:a16="http://schemas.microsoft.com/office/drawing/2014/main" id="{336501EE-9476-6D4E-A79B-4084C0BA3BA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70970" y="691072"/>
            <a:ext cx="2743200" cy="871369"/>
          </a:xfrm>
          <a:prstGeom prst="rect">
            <a:avLst/>
          </a:prstGeom>
        </p:spPr>
      </p:pic>
    </p:spTree>
    <p:extLst>
      <p:ext uri="{BB962C8B-B14F-4D97-AF65-F5344CB8AC3E}">
        <p14:creationId xmlns:p14="http://schemas.microsoft.com/office/powerpoint/2010/main" val="4113873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xEl>
                                              <p:pRg st="0" end="0"/>
                                            </p:txEl>
                                          </p:spTgt>
                                        </p:tgtEl>
                                        <p:attrNameLst>
                                          <p:attrName>style.visibility</p:attrName>
                                        </p:attrNameLst>
                                      </p:cBhvr>
                                      <p:to>
                                        <p:strVal val="visible"/>
                                      </p:to>
                                    </p:set>
                                    <p:animEffect transition="in" filter="fade">
                                      <p:cBhvr>
                                        <p:cTn id="13" dur="500"/>
                                        <p:tgtEl>
                                          <p:spTgt spid="5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7">
                                            <p:txEl>
                                              <p:pRg st="0" end="0"/>
                                            </p:txEl>
                                          </p:spTgt>
                                        </p:tgtEl>
                                        <p:attrNameLst>
                                          <p:attrName>style.visibility</p:attrName>
                                        </p:attrNameLst>
                                      </p:cBhvr>
                                      <p:to>
                                        <p:strVal val="visible"/>
                                      </p:to>
                                    </p:set>
                                    <p:animEffect transition="in" filter="fade">
                                      <p:cBhvr>
                                        <p:cTn id="16" dur="500"/>
                                        <p:tgtEl>
                                          <p:spTgt spid="5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build="p">
        <p:tmplLst>
          <p:tmpl lvl="1">
            <p:tnLst>
              <p:par>
                <p:cTn presetID="10" presetClass="entr" presetSubtype="0" fill="hold" nodeType="withEffect">
                  <p:stCondLst>
                    <p:cond delay="0"/>
                  </p:stCondLst>
                  <p:childTnLst>
                    <p:set>
                      <p:cBhvr>
                        <p:cTn dur="1" fill="hold">
                          <p:stCondLst>
                            <p:cond delay="0"/>
                          </p:stCondLst>
                        </p:cTn>
                        <p:tgtEl>
                          <p:spTgt spid="55"/>
                        </p:tgtEl>
                        <p:attrNameLst>
                          <p:attrName>style.visibility</p:attrName>
                        </p:attrNameLst>
                      </p:cBhvr>
                      <p:to>
                        <p:strVal val="visible"/>
                      </p:to>
                    </p:set>
                    <p:animEffect transition="in" filter="fade">
                      <p:cBhvr>
                        <p:cTn dur="500"/>
                        <p:tgtEl>
                          <p:spTgt spid="55"/>
                        </p:tgtEl>
                      </p:cBhvr>
                    </p:animEffect>
                  </p:childTnLst>
                </p:cTn>
              </p:par>
            </p:tnLst>
          </p:tmpl>
        </p:tmplLst>
      </p:bldP>
      <p:bldP spid="57" grpId="0" build="p">
        <p:tmplLst>
          <p:tmpl lvl="1">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resenters_3">
    <p:spTree>
      <p:nvGrpSpPr>
        <p:cNvPr id="1" name=""/>
        <p:cNvGrpSpPr/>
        <p:nvPr/>
      </p:nvGrpSpPr>
      <p:grpSpPr>
        <a:xfrm>
          <a:off x="0" y="0"/>
          <a:ext cx="0" cy="0"/>
          <a:chOff x="0" y="0"/>
          <a:chExt cx="0" cy="0"/>
        </a:xfrm>
      </p:grpSpPr>
      <p:sp>
        <p:nvSpPr>
          <p:cNvPr id="37" name="Picture Placeholder 14">
            <a:extLst>
              <a:ext uri="{FF2B5EF4-FFF2-40B4-BE49-F238E27FC236}">
                <a16:creationId xmlns:a16="http://schemas.microsoft.com/office/drawing/2014/main" id="{C1628540-FCC9-3045-8341-B0B62A11D9F4}"/>
              </a:ext>
            </a:extLst>
          </p:cNvPr>
          <p:cNvSpPr>
            <a:spLocks noGrp="1"/>
          </p:cNvSpPr>
          <p:nvPr>
            <p:ph type="pic" sz="quarter" idx="19"/>
          </p:nvPr>
        </p:nvSpPr>
        <p:spPr>
          <a:xfrm>
            <a:off x="5095409" y="1184184"/>
            <a:ext cx="1828800" cy="2103119"/>
          </a:xfrm>
        </p:spPr>
        <p:txBody>
          <a:bodyPr/>
          <a:lstStyle/>
          <a:p>
            <a:endParaRPr lang="en-US"/>
          </a:p>
        </p:txBody>
      </p:sp>
      <p:sp>
        <p:nvSpPr>
          <p:cNvPr id="43" name="Picture Placeholder 14">
            <a:extLst>
              <a:ext uri="{FF2B5EF4-FFF2-40B4-BE49-F238E27FC236}">
                <a16:creationId xmlns:a16="http://schemas.microsoft.com/office/drawing/2014/main" id="{C0C1F8AD-AFFB-DA4B-97CF-C96E56D85C7A}"/>
              </a:ext>
            </a:extLst>
          </p:cNvPr>
          <p:cNvSpPr>
            <a:spLocks noGrp="1"/>
          </p:cNvSpPr>
          <p:nvPr>
            <p:ph type="pic" sz="quarter" idx="20"/>
          </p:nvPr>
        </p:nvSpPr>
        <p:spPr>
          <a:xfrm>
            <a:off x="7401639" y="1184184"/>
            <a:ext cx="1828800" cy="2103119"/>
          </a:xfrm>
        </p:spPr>
        <p:txBody>
          <a:bodyPr/>
          <a:lstStyle/>
          <a:p>
            <a:endParaRPr lang="en-US"/>
          </a:p>
        </p:txBody>
      </p:sp>
      <p:sp>
        <p:nvSpPr>
          <p:cNvPr id="44" name="Picture Placeholder 14">
            <a:extLst>
              <a:ext uri="{FF2B5EF4-FFF2-40B4-BE49-F238E27FC236}">
                <a16:creationId xmlns:a16="http://schemas.microsoft.com/office/drawing/2014/main" id="{7AB1BC52-69B6-594A-9CD6-FAF29C414FFD}"/>
              </a:ext>
            </a:extLst>
          </p:cNvPr>
          <p:cNvSpPr>
            <a:spLocks noGrp="1"/>
          </p:cNvSpPr>
          <p:nvPr>
            <p:ph type="pic" sz="quarter" idx="21"/>
          </p:nvPr>
        </p:nvSpPr>
        <p:spPr>
          <a:xfrm>
            <a:off x="9683593" y="1184184"/>
            <a:ext cx="1828800" cy="2103119"/>
          </a:xfrm>
        </p:spPr>
        <p:txBody>
          <a:bodyPr/>
          <a:lstStyle/>
          <a:p>
            <a:endParaRPr lang="en-US"/>
          </a:p>
        </p:txBody>
      </p:sp>
      <p:grpSp>
        <p:nvGrpSpPr>
          <p:cNvPr id="4" name="Group 3"/>
          <p:cNvGrpSpPr/>
          <p:nvPr userDrawn="1"/>
        </p:nvGrpSpPr>
        <p:grpSpPr>
          <a:xfrm>
            <a:off x="0" y="0"/>
            <a:ext cx="4632287" cy="6858000"/>
            <a:chOff x="198120" y="0"/>
            <a:chExt cx="4632287" cy="6858000"/>
          </a:xfrm>
        </p:grpSpPr>
        <p:sp>
          <p:nvSpPr>
            <p:cNvPr id="9" name="Rectangle 8"/>
            <p:cNvSpPr/>
            <p:nvPr userDrawn="1"/>
          </p:nvSpPr>
          <p:spPr>
            <a:xfrm>
              <a:off x="198120" y="0"/>
              <a:ext cx="442444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4E4300EB-1F29-4DBF-9FE6-CE568DDB7E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16200000">
              <a:off x="1297484" y="3325076"/>
              <a:ext cx="6858000" cy="207847"/>
            </a:xfrm>
            <a:prstGeom prst="rect">
              <a:avLst/>
            </a:prstGeom>
          </p:spPr>
        </p:pic>
      </p:gr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p>
            <a:fld id="{8A6D9EF2-1078-4CF1-AE32-B8E5CFC7CD9F}" type="slidenum">
              <a:rPr lang="en-US" smtClean="0"/>
              <a:pPr/>
              <a:t>‹#›</a:t>
            </a:fld>
            <a:endParaRPr lang="en-US"/>
          </a:p>
        </p:txBody>
      </p:sp>
      <p:cxnSp>
        <p:nvCxnSpPr>
          <p:cNvPr id="24" name="Straight Connector 23">
            <a:extLst>
              <a:ext uri="{FF2B5EF4-FFF2-40B4-BE49-F238E27FC236}">
                <a16:creationId xmlns:a16="http://schemas.microsoft.com/office/drawing/2014/main" id="{8D169214-BF3E-46FC-9309-1F79ADEAEAA0}"/>
              </a:ext>
            </a:extLst>
          </p:cNvPr>
          <p:cNvCxnSpPr/>
          <p:nvPr userDrawn="1"/>
        </p:nvCxnSpPr>
        <p:spPr>
          <a:xfrm>
            <a:off x="11179926" y="6542036"/>
            <a:ext cx="0" cy="174157"/>
          </a:xfrm>
          <a:prstGeom prst="line">
            <a:avLst/>
          </a:prstGeom>
          <a:ln w="9525" cap="flat" cmpd="sng" algn="ctr">
            <a:solidFill>
              <a:schemeClr val="bg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56597B2C-A15E-B04C-A8A1-83B0E4B5EFE8}"/>
              </a:ext>
            </a:extLst>
          </p:cNvPr>
          <p:cNvSpPr>
            <a:spLocks noGrp="1"/>
          </p:cNvSpPr>
          <p:nvPr>
            <p:ph type="body" sz="quarter" idx="13" hasCustomPrompt="1"/>
          </p:nvPr>
        </p:nvSpPr>
        <p:spPr>
          <a:xfrm>
            <a:off x="5082709" y="3634196"/>
            <a:ext cx="1843452" cy="948508"/>
          </a:xfrm>
        </p:spPr>
        <p:txBody>
          <a:bodyPr>
            <a:noAutofit/>
          </a:bodyPr>
          <a:lstStyle>
            <a:lvl1pPr marL="0" indent="0">
              <a:lnSpc>
                <a:spcPts val="3000"/>
              </a:lnSpc>
              <a:spcBef>
                <a:spcPts val="0"/>
              </a:spcBef>
              <a:spcAft>
                <a:spcPts val="0"/>
              </a:spcAft>
              <a:buNone/>
              <a:defRPr>
                <a:solidFill>
                  <a:schemeClr val="tx2"/>
                </a:solidFill>
              </a:defRPr>
            </a:lvl1pPr>
          </a:lstStyle>
          <a:p>
            <a:pPr lvl="0"/>
            <a:r>
              <a:rPr lang="en-US" dirty="0" err="1"/>
              <a:t>Firstname</a:t>
            </a:r>
            <a:r>
              <a:rPr lang="en-US" dirty="0"/>
              <a:t> </a:t>
            </a:r>
            <a:r>
              <a:rPr lang="en-US" dirty="0" err="1"/>
              <a:t>Lastname</a:t>
            </a:r>
            <a:endParaRPr lang="en-US" dirty="0"/>
          </a:p>
        </p:txBody>
      </p:sp>
      <p:sp>
        <p:nvSpPr>
          <p:cNvPr id="38" name="Text Placeholder 4">
            <a:extLst>
              <a:ext uri="{FF2B5EF4-FFF2-40B4-BE49-F238E27FC236}">
                <a16:creationId xmlns:a16="http://schemas.microsoft.com/office/drawing/2014/main" id="{415310BE-8EC7-B641-95E5-1A7A0EB00394}"/>
              </a:ext>
            </a:extLst>
          </p:cNvPr>
          <p:cNvSpPr>
            <a:spLocks noGrp="1"/>
          </p:cNvSpPr>
          <p:nvPr>
            <p:ph type="body" sz="quarter" idx="14" hasCustomPrompt="1"/>
          </p:nvPr>
        </p:nvSpPr>
        <p:spPr>
          <a:xfrm>
            <a:off x="5080757" y="4768488"/>
            <a:ext cx="1843452" cy="948508"/>
          </a:xfrm>
        </p:spPr>
        <p:txBody>
          <a:bodyPr>
            <a:noAutofit/>
          </a:bodyPr>
          <a:lstStyle>
            <a:lvl1pPr marL="0" indent="0">
              <a:lnSpc>
                <a:spcPts val="2200"/>
              </a:lnSpc>
              <a:spcBef>
                <a:spcPts val="0"/>
              </a:spcBef>
              <a:spcAft>
                <a:spcPts val="0"/>
              </a:spcAft>
              <a:buNone/>
              <a:defRPr sz="1800">
                <a:solidFill>
                  <a:schemeClr val="tx2"/>
                </a:solidFill>
              </a:defRPr>
            </a:lvl1pPr>
          </a:lstStyle>
          <a:p>
            <a:pPr lvl="0"/>
            <a:r>
              <a:rPr lang="en-US" dirty="0"/>
              <a:t>Title 1</a:t>
            </a:r>
            <a:br>
              <a:rPr lang="en-US" dirty="0"/>
            </a:br>
            <a:r>
              <a:rPr lang="en-US" dirty="0"/>
              <a:t>Title 2</a:t>
            </a:r>
            <a:br>
              <a:rPr lang="en-US" dirty="0"/>
            </a:br>
            <a:r>
              <a:rPr lang="en-US" dirty="0"/>
              <a:t>Company Name</a:t>
            </a:r>
          </a:p>
        </p:txBody>
      </p:sp>
      <p:sp>
        <p:nvSpPr>
          <p:cNvPr id="39" name="Text Placeholder 4">
            <a:extLst>
              <a:ext uri="{FF2B5EF4-FFF2-40B4-BE49-F238E27FC236}">
                <a16:creationId xmlns:a16="http://schemas.microsoft.com/office/drawing/2014/main" id="{AE9139BB-81D3-3F45-8520-97CA01BADF5B}"/>
              </a:ext>
            </a:extLst>
          </p:cNvPr>
          <p:cNvSpPr>
            <a:spLocks noGrp="1"/>
          </p:cNvSpPr>
          <p:nvPr>
            <p:ph type="body" sz="quarter" idx="15" hasCustomPrompt="1"/>
          </p:nvPr>
        </p:nvSpPr>
        <p:spPr>
          <a:xfrm>
            <a:off x="7394109" y="3634196"/>
            <a:ext cx="1843452" cy="948508"/>
          </a:xfrm>
        </p:spPr>
        <p:txBody>
          <a:bodyPr>
            <a:noAutofit/>
          </a:bodyPr>
          <a:lstStyle>
            <a:lvl1pPr marL="0" indent="0">
              <a:lnSpc>
                <a:spcPts val="3000"/>
              </a:lnSpc>
              <a:spcBef>
                <a:spcPts val="0"/>
              </a:spcBef>
              <a:spcAft>
                <a:spcPts val="0"/>
              </a:spcAft>
              <a:buNone/>
              <a:defRPr>
                <a:solidFill>
                  <a:schemeClr val="tx2"/>
                </a:solidFill>
              </a:defRPr>
            </a:lvl1pPr>
          </a:lstStyle>
          <a:p>
            <a:pPr lvl="0"/>
            <a:r>
              <a:rPr lang="en-US" dirty="0" err="1"/>
              <a:t>Firstname</a:t>
            </a:r>
            <a:r>
              <a:rPr lang="en-US" dirty="0"/>
              <a:t> </a:t>
            </a:r>
            <a:r>
              <a:rPr lang="en-US" dirty="0" err="1"/>
              <a:t>Lastname</a:t>
            </a:r>
            <a:endParaRPr lang="en-US" dirty="0"/>
          </a:p>
        </p:txBody>
      </p:sp>
      <p:sp>
        <p:nvSpPr>
          <p:cNvPr id="40" name="Text Placeholder 4">
            <a:extLst>
              <a:ext uri="{FF2B5EF4-FFF2-40B4-BE49-F238E27FC236}">
                <a16:creationId xmlns:a16="http://schemas.microsoft.com/office/drawing/2014/main" id="{80E58E21-1BB7-9D4F-A9A3-4C15841483E9}"/>
              </a:ext>
            </a:extLst>
          </p:cNvPr>
          <p:cNvSpPr>
            <a:spLocks noGrp="1"/>
          </p:cNvSpPr>
          <p:nvPr>
            <p:ph type="body" sz="quarter" idx="16" hasCustomPrompt="1"/>
          </p:nvPr>
        </p:nvSpPr>
        <p:spPr>
          <a:xfrm>
            <a:off x="7392157" y="4768488"/>
            <a:ext cx="1843452" cy="948508"/>
          </a:xfrm>
        </p:spPr>
        <p:txBody>
          <a:bodyPr>
            <a:noAutofit/>
          </a:bodyPr>
          <a:lstStyle>
            <a:lvl1pPr marL="0" indent="0">
              <a:lnSpc>
                <a:spcPts val="2200"/>
              </a:lnSpc>
              <a:spcBef>
                <a:spcPts val="0"/>
              </a:spcBef>
              <a:spcAft>
                <a:spcPts val="0"/>
              </a:spcAft>
              <a:buNone/>
              <a:defRPr sz="1800">
                <a:solidFill>
                  <a:schemeClr val="tx2"/>
                </a:solidFill>
              </a:defRPr>
            </a:lvl1pPr>
          </a:lstStyle>
          <a:p>
            <a:pPr lvl="0"/>
            <a:r>
              <a:rPr lang="en-US" dirty="0"/>
              <a:t>Title 1</a:t>
            </a:r>
            <a:br>
              <a:rPr lang="en-US" dirty="0"/>
            </a:br>
            <a:r>
              <a:rPr lang="en-US" dirty="0"/>
              <a:t>Title 2</a:t>
            </a:r>
            <a:br>
              <a:rPr lang="en-US" dirty="0"/>
            </a:br>
            <a:r>
              <a:rPr lang="en-US" dirty="0"/>
              <a:t>Company Name</a:t>
            </a:r>
          </a:p>
        </p:txBody>
      </p:sp>
      <p:sp>
        <p:nvSpPr>
          <p:cNvPr id="41" name="Text Placeholder 4">
            <a:extLst>
              <a:ext uri="{FF2B5EF4-FFF2-40B4-BE49-F238E27FC236}">
                <a16:creationId xmlns:a16="http://schemas.microsoft.com/office/drawing/2014/main" id="{46A2D657-C939-744E-A4E1-5B026BFAC533}"/>
              </a:ext>
            </a:extLst>
          </p:cNvPr>
          <p:cNvSpPr>
            <a:spLocks noGrp="1"/>
          </p:cNvSpPr>
          <p:nvPr>
            <p:ph type="body" sz="quarter" idx="17" hasCustomPrompt="1"/>
          </p:nvPr>
        </p:nvSpPr>
        <p:spPr>
          <a:xfrm>
            <a:off x="9692809" y="3634196"/>
            <a:ext cx="1843452" cy="948508"/>
          </a:xfrm>
        </p:spPr>
        <p:txBody>
          <a:bodyPr>
            <a:noAutofit/>
          </a:bodyPr>
          <a:lstStyle>
            <a:lvl1pPr marL="0" indent="0">
              <a:lnSpc>
                <a:spcPts val="3000"/>
              </a:lnSpc>
              <a:spcBef>
                <a:spcPts val="0"/>
              </a:spcBef>
              <a:spcAft>
                <a:spcPts val="0"/>
              </a:spcAft>
              <a:buNone/>
              <a:defRPr>
                <a:solidFill>
                  <a:schemeClr val="tx2"/>
                </a:solidFill>
              </a:defRPr>
            </a:lvl1pPr>
          </a:lstStyle>
          <a:p>
            <a:pPr lvl="0"/>
            <a:r>
              <a:rPr lang="en-US" dirty="0" err="1"/>
              <a:t>Firstname</a:t>
            </a:r>
            <a:r>
              <a:rPr lang="en-US" dirty="0"/>
              <a:t> </a:t>
            </a:r>
            <a:r>
              <a:rPr lang="en-US" dirty="0" err="1"/>
              <a:t>Lastname</a:t>
            </a:r>
            <a:endParaRPr lang="en-US" dirty="0"/>
          </a:p>
        </p:txBody>
      </p:sp>
      <p:sp>
        <p:nvSpPr>
          <p:cNvPr id="42" name="Text Placeholder 4">
            <a:extLst>
              <a:ext uri="{FF2B5EF4-FFF2-40B4-BE49-F238E27FC236}">
                <a16:creationId xmlns:a16="http://schemas.microsoft.com/office/drawing/2014/main" id="{7C6A64C2-B060-0D40-AF5A-DBEAFC1F40CB}"/>
              </a:ext>
            </a:extLst>
          </p:cNvPr>
          <p:cNvSpPr>
            <a:spLocks noGrp="1"/>
          </p:cNvSpPr>
          <p:nvPr>
            <p:ph type="body" sz="quarter" idx="18" hasCustomPrompt="1"/>
          </p:nvPr>
        </p:nvSpPr>
        <p:spPr>
          <a:xfrm>
            <a:off x="9690857" y="4768488"/>
            <a:ext cx="1843452" cy="948508"/>
          </a:xfrm>
        </p:spPr>
        <p:txBody>
          <a:bodyPr>
            <a:noAutofit/>
          </a:bodyPr>
          <a:lstStyle>
            <a:lvl1pPr marL="0" indent="0">
              <a:lnSpc>
                <a:spcPts val="2200"/>
              </a:lnSpc>
              <a:spcBef>
                <a:spcPts val="0"/>
              </a:spcBef>
              <a:spcAft>
                <a:spcPts val="0"/>
              </a:spcAft>
              <a:buNone/>
              <a:defRPr sz="1800">
                <a:solidFill>
                  <a:schemeClr val="tx2"/>
                </a:solidFill>
              </a:defRPr>
            </a:lvl1pPr>
          </a:lstStyle>
          <a:p>
            <a:pPr lvl="0"/>
            <a:r>
              <a:rPr lang="en-US" dirty="0"/>
              <a:t>Title 1</a:t>
            </a:r>
            <a:br>
              <a:rPr lang="en-US" dirty="0"/>
            </a:br>
            <a:r>
              <a:rPr lang="en-US" dirty="0"/>
              <a:t>Title 2</a:t>
            </a:r>
            <a:br>
              <a:rPr lang="en-US" dirty="0"/>
            </a:br>
            <a:r>
              <a:rPr lang="en-US" dirty="0"/>
              <a:t>Company Name</a:t>
            </a:r>
          </a:p>
        </p:txBody>
      </p:sp>
      <p:sp>
        <p:nvSpPr>
          <p:cNvPr id="45" name="Footer Placeholder 2">
            <a:extLst>
              <a:ext uri="{FF2B5EF4-FFF2-40B4-BE49-F238E27FC236}">
                <a16:creationId xmlns:a16="http://schemas.microsoft.com/office/drawing/2014/main" id="{015DA368-1C32-5E42-ADD2-A2D045922953}"/>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rgbClr val="939598"/>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rgbClr val="939598"/>
                </a:solidFill>
                <a:latin typeface="Arial" panose="020B0604020202020204" pitchFamily="34" charset="0"/>
                <a:cs typeface="Arial" panose="020B0604020202020204" pitchFamily="34" charset="0"/>
              </a:rPr>
              <a:pPr algn="r"/>
              <a:t>8/17/2022</a:t>
            </a:fld>
            <a:r>
              <a:rPr lang="en-US" sz="900" b="0" i="0" dirty="0">
                <a:solidFill>
                  <a:srgbClr val="939598"/>
                </a:solidFill>
                <a:latin typeface="Arial" panose="020B0604020202020204" pitchFamily="34" charset="0"/>
                <a:cs typeface="Arial" panose="020B0604020202020204" pitchFamily="34" charset="0"/>
              </a:rPr>
              <a:t> </a:t>
            </a:r>
          </a:p>
        </p:txBody>
      </p:sp>
      <p:pic>
        <p:nvPicPr>
          <p:cNvPr id="46" name="Picture 45">
            <a:extLst>
              <a:ext uri="{FF2B5EF4-FFF2-40B4-BE49-F238E27FC236}">
                <a16:creationId xmlns:a16="http://schemas.microsoft.com/office/drawing/2014/main" id="{D8154F9E-AC0E-8641-9368-24D6E8DA9FB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69" y="6396222"/>
            <a:ext cx="918088" cy="291627"/>
          </a:xfrm>
          <a:prstGeom prst="rect">
            <a:avLst/>
          </a:prstGeom>
        </p:spPr>
      </p:pic>
      <p:sp>
        <p:nvSpPr>
          <p:cNvPr id="47" name="Title 1">
            <a:extLst>
              <a:ext uri="{FF2B5EF4-FFF2-40B4-BE49-F238E27FC236}">
                <a16:creationId xmlns:a16="http://schemas.microsoft.com/office/drawing/2014/main" id="{F1422B2C-79CF-EC4C-B551-5B14306AEDA9}"/>
              </a:ext>
            </a:extLst>
          </p:cNvPr>
          <p:cNvSpPr>
            <a:spLocks noGrp="1"/>
          </p:cNvSpPr>
          <p:nvPr>
            <p:ph type="title"/>
          </p:nvPr>
        </p:nvSpPr>
        <p:spPr>
          <a:xfrm>
            <a:off x="670969" y="1310119"/>
            <a:ext cx="3504791" cy="2150649"/>
          </a:xfrm>
        </p:spPr>
        <p:txBody>
          <a:bodyPr anchor="b">
            <a:noAutofit/>
          </a:bodyPr>
          <a:lstStyle>
            <a:lvl1pPr>
              <a:lnSpc>
                <a:spcPts val="3600"/>
              </a:lnSpc>
              <a:defRPr sz="3200">
                <a:solidFill>
                  <a:schemeClr val="bg1"/>
                </a:solidFill>
              </a:defRPr>
            </a:lvl1pPr>
          </a:lstStyle>
          <a:p>
            <a:r>
              <a:rPr lang="en-US" dirty="0"/>
              <a:t>Click to edit Master title style</a:t>
            </a:r>
          </a:p>
        </p:txBody>
      </p:sp>
      <p:cxnSp>
        <p:nvCxnSpPr>
          <p:cNvPr id="49" name="Straight Connector 48">
            <a:extLst>
              <a:ext uri="{FF2B5EF4-FFF2-40B4-BE49-F238E27FC236}">
                <a16:creationId xmlns:a16="http://schemas.microsoft.com/office/drawing/2014/main" id="{74F79534-7F57-E346-9436-9059EB0A2D94}"/>
              </a:ext>
            </a:extLst>
          </p:cNvPr>
          <p:cNvCxnSpPr>
            <a:cxnSpLocks/>
          </p:cNvCxnSpPr>
          <p:nvPr userDrawn="1"/>
        </p:nvCxnSpPr>
        <p:spPr>
          <a:xfrm>
            <a:off x="673281" y="3860229"/>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9414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35" presetClass="path" presetSubtype="0" decel="100000" fill="hold" nodeType="withEffect">
                                  <p:stCondLst>
                                    <p:cond delay="0"/>
                                  </p:stCondLst>
                                  <p:childTnLst>
                                    <p:animMotion origin="layout" path="M -4.375E-6 3.33333E-6 L -0.08932 3.33333E-6 " pathEditMode="relative" rAng="0" ptsTypes="AA">
                                      <p:cBhvr>
                                        <p:cTn id="9" dur="1000" spd="-100000" fill="hold"/>
                                        <p:tgtEl>
                                          <p:spTgt spid="4"/>
                                        </p:tgtEl>
                                        <p:attrNameLst>
                                          <p:attrName>ppt_x</p:attrName>
                                          <p:attrName>ppt_y</p:attrName>
                                        </p:attrNameLst>
                                      </p:cBhvr>
                                      <p:rCtr x="-4466" y="0"/>
                                    </p:animMotion>
                                  </p:childTnLst>
                                </p:cTn>
                              </p:par>
                              <p:par>
                                <p:cTn id="10" presetID="10" presetClass="entr" presetSubtype="0" fill="hold" grpId="0" nodeType="withEffect">
                                  <p:stCondLst>
                                    <p:cond delay="50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750"/>
                                        <p:tgtEl>
                                          <p:spTgt spid="47"/>
                                        </p:tgtEl>
                                      </p:cBhvr>
                                    </p:animEffect>
                                  </p:childTnLst>
                                </p:cTn>
                              </p:par>
                              <p:par>
                                <p:cTn id="13" presetID="10" presetClass="entr" presetSubtype="0" fill="hold" nodeType="withEffect">
                                  <p:stCondLst>
                                    <p:cond delay="500"/>
                                  </p:stCondLst>
                                  <p:childTnLst>
                                    <p:set>
                                      <p:cBhvr>
                                        <p:cTn id="14" dur="1" fill="hold">
                                          <p:stCondLst>
                                            <p:cond delay="0"/>
                                          </p:stCondLst>
                                        </p:cTn>
                                        <p:tgtEl>
                                          <p:spTgt spid="49"/>
                                        </p:tgtEl>
                                        <p:attrNameLst>
                                          <p:attrName>style.visibility</p:attrName>
                                        </p:attrNameLst>
                                      </p:cBhvr>
                                      <p:to>
                                        <p:strVal val="visible"/>
                                      </p:to>
                                    </p:set>
                                    <p:animEffect transition="in" filter="fade">
                                      <p:cBhvr>
                                        <p:cTn id="15" dur="75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extLst>
    <p:ext uri="{DCECCB84-F9BA-43D5-87BE-67443E8EF086}">
      <p15:sldGuideLst xmlns:p15="http://schemas.microsoft.com/office/powerpoint/2012/main">
        <p15:guide id="1" orient="horz" pos="2712">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Presenters_2">
    <p:spTree>
      <p:nvGrpSpPr>
        <p:cNvPr id="1" name=""/>
        <p:cNvGrpSpPr/>
        <p:nvPr/>
      </p:nvGrpSpPr>
      <p:grpSpPr>
        <a:xfrm>
          <a:off x="0" y="0"/>
          <a:ext cx="0" cy="0"/>
          <a:chOff x="0" y="0"/>
          <a:chExt cx="0" cy="0"/>
        </a:xfrm>
      </p:grpSpPr>
      <p:sp>
        <p:nvSpPr>
          <p:cNvPr id="40" name="Picture Placeholder 14">
            <a:extLst>
              <a:ext uri="{FF2B5EF4-FFF2-40B4-BE49-F238E27FC236}">
                <a16:creationId xmlns:a16="http://schemas.microsoft.com/office/drawing/2014/main" id="{6E8C8525-68FA-3744-85C1-EB6285982C98}"/>
              </a:ext>
            </a:extLst>
          </p:cNvPr>
          <p:cNvSpPr>
            <a:spLocks noGrp="1"/>
          </p:cNvSpPr>
          <p:nvPr>
            <p:ph type="pic" sz="quarter" idx="21"/>
          </p:nvPr>
        </p:nvSpPr>
        <p:spPr>
          <a:xfrm>
            <a:off x="6105553" y="1184184"/>
            <a:ext cx="1828800" cy="2103119"/>
          </a:xfrm>
        </p:spPr>
        <p:txBody>
          <a:bodyPr/>
          <a:lstStyle/>
          <a:p>
            <a:endParaRPr lang="en-US"/>
          </a:p>
        </p:txBody>
      </p:sp>
      <p:sp>
        <p:nvSpPr>
          <p:cNvPr id="41" name="Picture Placeholder 14">
            <a:extLst>
              <a:ext uri="{FF2B5EF4-FFF2-40B4-BE49-F238E27FC236}">
                <a16:creationId xmlns:a16="http://schemas.microsoft.com/office/drawing/2014/main" id="{8F9B4EF3-DB34-7F49-AE1C-95765740F346}"/>
              </a:ext>
            </a:extLst>
          </p:cNvPr>
          <p:cNvSpPr>
            <a:spLocks noGrp="1"/>
          </p:cNvSpPr>
          <p:nvPr>
            <p:ph type="pic" sz="quarter" idx="22"/>
          </p:nvPr>
        </p:nvSpPr>
        <p:spPr>
          <a:xfrm>
            <a:off x="8640735" y="1184184"/>
            <a:ext cx="1828800" cy="2103119"/>
          </a:xfrm>
        </p:spPr>
        <p:txBody>
          <a:bodyPr/>
          <a:lstStyle/>
          <a:p>
            <a:endParaRPr lang="en-US"/>
          </a:p>
        </p:txBody>
      </p:sp>
      <p:grpSp>
        <p:nvGrpSpPr>
          <p:cNvPr id="4" name="Group 3"/>
          <p:cNvGrpSpPr/>
          <p:nvPr userDrawn="1"/>
        </p:nvGrpSpPr>
        <p:grpSpPr>
          <a:xfrm>
            <a:off x="0" y="0"/>
            <a:ext cx="4632287" cy="6858000"/>
            <a:chOff x="198120" y="0"/>
            <a:chExt cx="4632287" cy="6858000"/>
          </a:xfrm>
        </p:grpSpPr>
        <p:sp>
          <p:nvSpPr>
            <p:cNvPr id="9" name="Rectangle 8"/>
            <p:cNvSpPr/>
            <p:nvPr userDrawn="1"/>
          </p:nvSpPr>
          <p:spPr>
            <a:xfrm>
              <a:off x="198120" y="0"/>
              <a:ext cx="442444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4E4300EB-1F29-4DBF-9FE6-CE568DDB7E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16200000">
              <a:off x="1297484" y="3325076"/>
              <a:ext cx="6858000" cy="207847"/>
            </a:xfrm>
            <a:prstGeom prst="rect">
              <a:avLst/>
            </a:prstGeom>
          </p:spPr>
        </p:pic>
      </p:gr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p>
            <a:fld id="{8A6D9EF2-1078-4CF1-AE32-B8E5CFC7CD9F}" type="slidenum">
              <a:rPr lang="en-US" smtClean="0"/>
              <a:pPr/>
              <a:t>‹#›</a:t>
            </a:fld>
            <a:endParaRPr lang="en-US"/>
          </a:p>
        </p:txBody>
      </p:sp>
      <p:cxnSp>
        <p:nvCxnSpPr>
          <p:cNvPr id="24" name="Straight Connector 23">
            <a:extLst>
              <a:ext uri="{FF2B5EF4-FFF2-40B4-BE49-F238E27FC236}">
                <a16:creationId xmlns:a16="http://schemas.microsoft.com/office/drawing/2014/main" id="{8D169214-BF3E-46FC-9309-1F79ADEAEAA0}"/>
              </a:ext>
            </a:extLst>
          </p:cNvPr>
          <p:cNvCxnSpPr/>
          <p:nvPr userDrawn="1"/>
        </p:nvCxnSpPr>
        <p:spPr>
          <a:xfrm>
            <a:off x="11179926" y="6542036"/>
            <a:ext cx="0" cy="174157"/>
          </a:xfrm>
          <a:prstGeom prst="line">
            <a:avLst/>
          </a:prstGeom>
          <a:ln w="9525" cap="flat" cmpd="sng" algn="ctr">
            <a:solidFill>
              <a:schemeClr val="bg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D28F53EF-A731-A949-83CD-5E6AFB2B7643}"/>
              </a:ext>
            </a:extLst>
          </p:cNvPr>
          <p:cNvSpPr>
            <a:spLocks noGrp="1"/>
          </p:cNvSpPr>
          <p:nvPr>
            <p:ph type="body" sz="quarter" idx="17" hasCustomPrompt="1"/>
          </p:nvPr>
        </p:nvSpPr>
        <p:spPr>
          <a:xfrm>
            <a:off x="6111483" y="3634196"/>
            <a:ext cx="1843452" cy="948508"/>
          </a:xfrm>
        </p:spPr>
        <p:txBody>
          <a:bodyPr>
            <a:noAutofit/>
          </a:bodyPr>
          <a:lstStyle>
            <a:lvl1pPr marL="0" indent="0">
              <a:lnSpc>
                <a:spcPts val="3000"/>
              </a:lnSpc>
              <a:spcBef>
                <a:spcPts val="0"/>
              </a:spcBef>
              <a:spcAft>
                <a:spcPts val="0"/>
              </a:spcAft>
              <a:buNone/>
              <a:defRPr>
                <a:solidFill>
                  <a:schemeClr val="tx2"/>
                </a:solidFill>
              </a:defRPr>
            </a:lvl1pPr>
          </a:lstStyle>
          <a:p>
            <a:pPr lvl="0"/>
            <a:r>
              <a:rPr lang="en-US" dirty="0" err="1"/>
              <a:t>Firstname</a:t>
            </a:r>
            <a:r>
              <a:rPr lang="en-US" dirty="0"/>
              <a:t> </a:t>
            </a:r>
            <a:r>
              <a:rPr lang="en-US" dirty="0" err="1"/>
              <a:t>Lastname</a:t>
            </a:r>
            <a:endParaRPr lang="en-US" dirty="0"/>
          </a:p>
        </p:txBody>
      </p:sp>
      <p:sp>
        <p:nvSpPr>
          <p:cNvPr id="37" name="Text Placeholder 4">
            <a:extLst>
              <a:ext uri="{FF2B5EF4-FFF2-40B4-BE49-F238E27FC236}">
                <a16:creationId xmlns:a16="http://schemas.microsoft.com/office/drawing/2014/main" id="{F8DA5306-6057-4845-9CF4-BD06FAF6DD97}"/>
              </a:ext>
            </a:extLst>
          </p:cNvPr>
          <p:cNvSpPr>
            <a:spLocks noGrp="1"/>
          </p:cNvSpPr>
          <p:nvPr>
            <p:ph type="body" sz="quarter" idx="18" hasCustomPrompt="1"/>
          </p:nvPr>
        </p:nvSpPr>
        <p:spPr>
          <a:xfrm>
            <a:off x="6109531" y="4768488"/>
            <a:ext cx="1843452" cy="948508"/>
          </a:xfrm>
        </p:spPr>
        <p:txBody>
          <a:bodyPr>
            <a:noAutofit/>
          </a:bodyPr>
          <a:lstStyle>
            <a:lvl1pPr marL="0" indent="0">
              <a:lnSpc>
                <a:spcPts val="2200"/>
              </a:lnSpc>
              <a:spcBef>
                <a:spcPts val="0"/>
              </a:spcBef>
              <a:spcAft>
                <a:spcPts val="0"/>
              </a:spcAft>
              <a:buNone/>
              <a:defRPr sz="1800">
                <a:solidFill>
                  <a:schemeClr val="tx2"/>
                </a:solidFill>
              </a:defRPr>
            </a:lvl1pPr>
          </a:lstStyle>
          <a:p>
            <a:pPr lvl="0"/>
            <a:r>
              <a:rPr lang="en-US" dirty="0"/>
              <a:t>Title 1</a:t>
            </a:r>
            <a:br>
              <a:rPr lang="en-US" dirty="0"/>
            </a:br>
            <a:r>
              <a:rPr lang="en-US" dirty="0"/>
              <a:t>Title 2</a:t>
            </a:r>
            <a:br>
              <a:rPr lang="en-US" dirty="0"/>
            </a:br>
            <a:r>
              <a:rPr lang="en-US" dirty="0"/>
              <a:t>Company Name</a:t>
            </a:r>
          </a:p>
        </p:txBody>
      </p:sp>
      <p:sp>
        <p:nvSpPr>
          <p:cNvPr id="38" name="Text Placeholder 4">
            <a:extLst>
              <a:ext uri="{FF2B5EF4-FFF2-40B4-BE49-F238E27FC236}">
                <a16:creationId xmlns:a16="http://schemas.microsoft.com/office/drawing/2014/main" id="{2CDD66EE-679F-1445-9FD0-510B5413DD5B}"/>
              </a:ext>
            </a:extLst>
          </p:cNvPr>
          <p:cNvSpPr>
            <a:spLocks noGrp="1"/>
          </p:cNvSpPr>
          <p:nvPr>
            <p:ph type="body" sz="quarter" idx="19" hasCustomPrompt="1"/>
          </p:nvPr>
        </p:nvSpPr>
        <p:spPr>
          <a:xfrm>
            <a:off x="8626083" y="3634196"/>
            <a:ext cx="1843452" cy="948508"/>
          </a:xfrm>
        </p:spPr>
        <p:txBody>
          <a:bodyPr>
            <a:noAutofit/>
          </a:bodyPr>
          <a:lstStyle>
            <a:lvl1pPr marL="0" indent="0">
              <a:lnSpc>
                <a:spcPts val="3000"/>
              </a:lnSpc>
              <a:spcBef>
                <a:spcPts val="0"/>
              </a:spcBef>
              <a:spcAft>
                <a:spcPts val="0"/>
              </a:spcAft>
              <a:buNone/>
              <a:defRPr>
                <a:solidFill>
                  <a:schemeClr val="tx2"/>
                </a:solidFill>
              </a:defRPr>
            </a:lvl1pPr>
          </a:lstStyle>
          <a:p>
            <a:pPr lvl="0"/>
            <a:r>
              <a:rPr lang="en-US" dirty="0" err="1"/>
              <a:t>Firstname</a:t>
            </a:r>
            <a:r>
              <a:rPr lang="en-US" dirty="0"/>
              <a:t> </a:t>
            </a:r>
            <a:r>
              <a:rPr lang="en-US" dirty="0" err="1"/>
              <a:t>Lastname</a:t>
            </a:r>
            <a:endParaRPr lang="en-US" dirty="0"/>
          </a:p>
        </p:txBody>
      </p:sp>
      <p:sp>
        <p:nvSpPr>
          <p:cNvPr id="39" name="Text Placeholder 4">
            <a:extLst>
              <a:ext uri="{FF2B5EF4-FFF2-40B4-BE49-F238E27FC236}">
                <a16:creationId xmlns:a16="http://schemas.microsoft.com/office/drawing/2014/main" id="{12B671D5-70B5-E24E-B175-FBAEC3773E8B}"/>
              </a:ext>
            </a:extLst>
          </p:cNvPr>
          <p:cNvSpPr>
            <a:spLocks noGrp="1"/>
          </p:cNvSpPr>
          <p:nvPr>
            <p:ph type="body" sz="quarter" idx="20" hasCustomPrompt="1"/>
          </p:nvPr>
        </p:nvSpPr>
        <p:spPr>
          <a:xfrm>
            <a:off x="8624131" y="4768488"/>
            <a:ext cx="1843452" cy="948508"/>
          </a:xfrm>
        </p:spPr>
        <p:txBody>
          <a:bodyPr>
            <a:noAutofit/>
          </a:bodyPr>
          <a:lstStyle>
            <a:lvl1pPr marL="0" indent="0">
              <a:lnSpc>
                <a:spcPts val="2200"/>
              </a:lnSpc>
              <a:spcBef>
                <a:spcPts val="0"/>
              </a:spcBef>
              <a:spcAft>
                <a:spcPts val="0"/>
              </a:spcAft>
              <a:buNone/>
              <a:defRPr sz="1800">
                <a:solidFill>
                  <a:schemeClr val="tx2"/>
                </a:solidFill>
              </a:defRPr>
            </a:lvl1pPr>
          </a:lstStyle>
          <a:p>
            <a:pPr lvl="0"/>
            <a:r>
              <a:rPr lang="en-US" dirty="0"/>
              <a:t>Title 1</a:t>
            </a:r>
            <a:br>
              <a:rPr lang="en-US" dirty="0"/>
            </a:br>
            <a:r>
              <a:rPr lang="en-US" dirty="0"/>
              <a:t>Title 2</a:t>
            </a:r>
            <a:br>
              <a:rPr lang="en-US" dirty="0"/>
            </a:br>
            <a:r>
              <a:rPr lang="en-US" dirty="0"/>
              <a:t>Company Name</a:t>
            </a:r>
          </a:p>
        </p:txBody>
      </p:sp>
      <p:sp>
        <p:nvSpPr>
          <p:cNvPr id="42" name="Footer Placeholder 2">
            <a:extLst>
              <a:ext uri="{FF2B5EF4-FFF2-40B4-BE49-F238E27FC236}">
                <a16:creationId xmlns:a16="http://schemas.microsoft.com/office/drawing/2014/main" id="{6AA81280-A3D6-4047-B97E-6C6A8BD0F9D6}"/>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rgbClr val="939598"/>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rgbClr val="939598"/>
                </a:solidFill>
                <a:latin typeface="Arial" panose="020B0604020202020204" pitchFamily="34" charset="0"/>
                <a:cs typeface="Arial" panose="020B0604020202020204" pitchFamily="34" charset="0"/>
              </a:rPr>
              <a:pPr algn="r"/>
              <a:t>8/17/2022</a:t>
            </a:fld>
            <a:r>
              <a:rPr lang="en-US" sz="900" b="0" i="0" dirty="0">
                <a:solidFill>
                  <a:srgbClr val="939598"/>
                </a:solidFill>
                <a:latin typeface="Arial" panose="020B0604020202020204" pitchFamily="34" charset="0"/>
                <a:cs typeface="Arial" panose="020B0604020202020204" pitchFamily="34" charset="0"/>
              </a:rPr>
              <a:t> </a:t>
            </a:r>
          </a:p>
        </p:txBody>
      </p:sp>
      <p:pic>
        <p:nvPicPr>
          <p:cNvPr id="43" name="Picture 42">
            <a:extLst>
              <a:ext uri="{FF2B5EF4-FFF2-40B4-BE49-F238E27FC236}">
                <a16:creationId xmlns:a16="http://schemas.microsoft.com/office/drawing/2014/main" id="{F902BF0A-BD17-5244-8375-29AD577E099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69" y="6396222"/>
            <a:ext cx="918088" cy="291627"/>
          </a:xfrm>
          <a:prstGeom prst="rect">
            <a:avLst/>
          </a:prstGeom>
        </p:spPr>
      </p:pic>
      <p:sp>
        <p:nvSpPr>
          <p:cNvPr id="44" name="Title 1">
            <a:extLst>
              <a:ext uri="{FF2B5EF4-FFF2-40B4-BE49-F238E27FC236}">
                <a16:creationId xmlns:a16="http://schemas.microsoft.com/office/drawing/2014/main" id="{DE1C6A5E-7C7C-A741-96F0-5405BC88C68E}"/>
              </a:ext>
            </a:extLst>
          </p:cNvPr>
          <p:cNvSpPr>
            <a:spLocks noGrp="1"/>
          </p:cNvSpPr>
          <p:nvPr>
            <p:ph type="title"/>
          </p:nvPr>
        </p:nvSpPr>
        <p:spPr>
          <a:xfrm>
            <a:off x="670969" y="1310119"/>
            <a:ext cx="3504791" cy="2150649"/>
          </a:xfrm>
        </p:spPr>
        <p:txBody>
          <a:bodyPr anchor="b">
            <a:noAutofit/>
          </a:bodyPr>
          <a:lstStyle>
            <a:lvl1pPr>
              <a:lnSpc>
                <a:spcPts val="3600"/>
              </a:lnSpc>
              <a:defRPr sz="3200">
                <a:solidFill>
                  <a:schemeClr val="bg1"/>
                </a:solidFill>
              </a:defRPr>
            </a:lvl1pPr>
          </a:lstStyle>
          <a:p>
            <a:r>
              <a:rPr lang="en-US" dirty="0"/>
              <a:t>Click to edit Master title style</a:t>
            </a:r>
          </a:p>
        </p:txBody>
      </p:sp>
      <p:cxnSp>
        <p:nvCxnSpPr>
          <p:cNvPr id="46" name="Straight Connector 45">
            <a:extLst>
              <a:ext uri="{FF2B5EF4-FFF2-40B4-BE49-F238E27FC236}">
                <a16:creationId xmlns:a16="http://schemas.microsoft.com/office/drawing/2014/main" id="{1D9E384A-D959-0C42-943F-611359C0D4E3}"/>
              </a:ext>
            </a:extLst>
          </p:cNvPr>
          <p:cNvCxnSpPr>
            <a:cxnSpLocks/>
          </p:cNvCxnSpPr>
          <p:nvPr userDrawn="1"/>
        </p:nvCxnSpPr>
        <p:spPr>
          <a:xfrm>
            <a:off x="673281" y="3860229"/>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61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35" presetClass="path" presetSubtype="0" decel="100000" fill="hold" nodeType="withEffect">
                                  <p:stCondLst>
                                    <p:cond delay="0"/>
                                  </p:stCondLst>
                                  <p:childTnLst>
                                    <p:animMotion origin="layout" path="M -4.375E-6 3.33333E-6 L -0.08932 3.33333E-6 " pathEditMode="relative" rAng="0" ptsTypes="AA">
                                      <p:cBhvr>
                                        <p:cTn id="9" dur="1000" spd="-100000" fill="hold"/>
                                        <p:tgtEl>
                                          <p:spTgt spid="4"/>
                                        </p:tgtEl>
                                        <p:attrNameLst>
                                          <p:attrName>ppt_x</p:attrName>
                                          <p:attrName>ppt_y</p:attrName>
                                        </p:attrNameLst>
                                      </p:cBhvr>
                                      <p:rCtr x="-4466" y="0"/>
                                    </p:animMotion>
                                  </p:childTnLst>
                                </p:cTn>
                              </p:par>
                              <p:par>
                                <p:cTn id="10" presetID="10" presetClass="entr" presetSubtype="0" fill="hold" grpId="0" nodeType="withEffect">
                                  <p:stCondLst>
                                    <p:cond delay="50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750"/>
                                        <p:tgtEl>
                                          <p:spTgt spid="44"/>
                                        </p:tgtEl>
                                      </p:cBhvr>
                                    </p:animEffect>
                                  </p:childTnLst>
                                </p:cTn>
                              </p:par>
                              <p:par>
                                <p:cTn id="13" presetID="10" presetClass="entr" presetSubtype="0" fill="hold" nodeType="withEffect">
                                  <p:stCondLst>
                                    <p:cond delay="5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75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extLst>
    <p:ext uri="{DCECCB84-F9BA-43D5-87BE-67443E8EF086}">
      <p15:sldGuideLst xmlns:p15="http://schemas.microsoft.com/office/powerpoint/2012/main">
        <p15:guide id="1" orient="horz" pos="2712">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Presenters_1">
    <p:spTree>
      <p:nvGrpSpPr>
        <p:cNvPr id="1" name=""/>
        <p:cNvGrpSpPr/>
        <p:nvPr/>
      </p:nvGrpSpPr>
      <p:grpSpPr>
        <a:xfrm>
          <a:off x="0" y="0"/>
          <a:ext cx="0" cy="0"/>
          <a:chOff x="0" y="0"/>
          <a:chExt cx="0" cy="0"/>
        </a:xfrm>
      </p:grpSpPr>
      <p:sp>
        <p:nvSpPr>
          <p:cNvPr id="38" name="Picture Placeholder 14">
            <a:extLst>
              <a:ext uri="{FF2B5EF4-FFF2-40B4-BE49-F238E27FC236}">
                <a16:creationId xmlns:a16="http://schemas.microsoft.com/office/drawing/2014/main" id="{6F546BCD-2E68-F74F-8077-9FD740B03FF8}"/>
              </a:ext>
            </a:extLst>
          </p:cNvPr>
          <p:cNvSpPr>
            <a:spLocks noGrp="1"/>
          </p:cNvSpPr>
          <p:nvPr>
            <p:ph type="pic" sz="quarter" idx="20"/>
          </p:nvPr>
        </p:nvSpPr>
        <p:spPr>
          <a:xfrm>
            <a:off x="7401639" y="1184184"/>
            <a:ext cx="1828800" cy="2103119"/>
          </a:xfrm>
        </p:spPr>
        <p:txBody>
          <a:bodyPr/>
          <a:lstStyle/>
          <a:p>
            <a:endParaRPr lang="en-US"/>
          </a:p>
        </p:txBody>
      </p:sp>
      <p:grpSp>
        <p:nvGrpSpPr>
          <p:cNvPr id="4" name="Group 3"/>
          <p:cNvGrpSpPr/>
          <p:nvPr userDrawn="1"/>
        </p:nvGrpSpPr>
        <p:grpSpPr>
          <a:xfrm>
            <a:off x="0" y="0"/>
            <a:ext cx="4632287" cy="6858000"/>
            <a:chOff x="198120" y="0"/>
            <a:chExt cx="4632287" cy="6858000"/>
          </a:xfrm>
        </p:grpSpPr>
        <p:sp>
          <p:nvSpPr>
            <p:cNvPr id="9" name="Rectangle 8"/>
            <p:cNvSpPr/>
            <p:nvPr userDrawn="1"/>
          </p:nvSpPr>
          <p:spPr>
            <a:xfrm>
              <a:off x="198120" y="0"/>
              <a:ext cx="442444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4E4300EB-1F29-4DBF-9FE6-CE568DDB7E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16200000">
              <a:off x="1297484" y="3325076"/>
              <a:ext cx="6858000" cy="207847"/>
            </a:xfrm>
            <a:prstGeom prst="rect">
              <a:avLst/>
            </a:prstGeom>
          </p:spPr>
        </p:pic>
      </p:gr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p>
            <a:fld id="{8A6D9EF2-1078-4CF1-AE32-B8E5CFC7CD9F}" type="slidenum">
              <a:rPr lang="en-US" smtClean="0"/>
              <a:pPr/>
              <a:t>‹#›</a:t>
            </a:fld>
            <a:endParaRPr lang="en-US"/>
          </a:p>
        </p:txBody>
      </p:sp>
      <p:cxnSp>
        <p:nvCxnSpPr>
          <p:cNvPr id="24" name="Straight Connector 23">
            <a:extLst>
              <a:ext uri="{FF2B5EF4-FFF2-40B4-BE49-F238E27FC236}">
                <a16:creationId xmlns:a16="http://schemas.microsoft.com/office/drawing/2014/main" id="{8D169214-BF3E-46FC-9309-1F79ADEAEAA0}"/>
              </a:ext>
            </a:extLst>
          </p:cNvPr>
          <p:cNvCxnSpPr/>
          <p:nvPr userDrawn="1"/>
        </p:nvCxnSpPr>
        <p:spPr>
          <a:xfrm>
            <a:off x="11179926" y="6542036"/>
            <a:ext cx="0" cy="174157"/>
          </a:xfrm>
          <a:prstGeom prst="line">
            <a:avLst/>
          </a:prstGeom>
          <a:ln w="9525" cap="flat" cmpd="sng" algn="ctr">
            <a:solidFill>
              <a:schemeClr val="bg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50B9BB13-2AE8-5945-8969-F23802E3181A}"/>
              </a:ext>
            </a:extLst>
          </p:cNvPr>
          <p:cNvSpPr>
            <a:spLocks noGrp="1"/>
          </p:cNvSpPr>
          <p:nvPr>
            <p:ph type="body" sz="quarter" idx="17" hasCustomPrompt="1"/>
          </p:nvPr>
        </p:nvSpPr>
        <p:spPr>
          <a:xfrm>
            <a:off x="7379168" y="3634196"/>
            <a:ext cx="1843452" cy="948508"/>
          </a:xfrm>
        </p:spPr>
        <p:txBody>
          <a:bodyPr>
            <a:noAutofit/>
          </a:bodyPr>
          <a:lstStyle>
            <a:lvl1pPr marL="0" indent="0">
              <a:lnSpc>
                <a:spcPts val="3000"/>
              </a:lnSpc>
              <a:spcBef>
                <a:spcPts val="0"/>
              </a:spcBef>
              <a:spcAft>
                <a:spcPts val="0"/>
              </a:spcAft>
              <a:buNone/>
              <a:defRPr>
                <a:solidFill>
                  <a:schemeClr val="tx2"/>
                </a:solidFill>
              </a:defRPr>
            </a:lvl1pPr>
          </a:lstStyle>
          <a:p>
            <a:pPr lvl="0"/>
            <a:r>
              <a:rPr lang="en-US" dirty="0" err="1"/>
              <a:t>Firstname</a:t>
            </a:r>
            <a:r>
              <a:rPr lang="en-US" dirty="0"/>
              <a:t> </a:t>
            </a:r>
            <a:r>
              <a:rPr lang="en-US" dirty="0" err="1"/>
              <a:t>Lastname</a:t>
            </a:r>
            <a:endParaRPr lang="en-US" dirty="0"/>
          </a:p>
        </p:txBody>
      </p:sp>
      <p:sp>
        <p:nvSpPr>
          <p:cNvPr id="37" name="Text Placeholder 4">
            <a:extLst>
              <a:ext uri="{FF2B5EF4-FFF2-40B4-BE49-F238E27FC236}">
                <a16:creationId xmlns:a16="http://schemas.microsoft.com/office/drawing/2014/main" id="{6E53F829-6A0A-C549-8D3A-B6241629C37F}"/>
              </a:ext>
            </a:extLst>
          </p:cNvPr>
          <p:cNvSpPr>
            <a:spLocks noGrp="1"/>
          </p:cNvSpPr>
          <p:nvPr>
            <p:ph type="body" sz="quarter" idx="18" hasCustomPrompt="1"/>
          </p:nvPr>
        </p:nvSpPr>
        <p:spPr>
          <a:xfrm>
            <a:off x="7377216" y="4768488"/>
            <a:ext cx="1843452" cy="948508"/>
          </a:xfrm>
        </p:spPr>
        <p:txBody>
          <a:bodyPr>
            <a:noAutofit/>
          </a:bodyPr>
          <a:lstStyle>
            <a:lvl1pPr marL="0" indent="0">
              <a:lnSpc>
                <a:spcPts val="2200"/>
              </a:lnSpc>
              <a:spcBef>
                <a:spcPts val="0"/>
              </a:spcBef>
              <a:spcAft>
                <a:spcPts val="0"/>
              </a:spcAft>
              <a:buNone/>
              <a:defRPr sz="1800">
                <a:solidFill>
                  <a:schemeClr val="tx2"/>
                </a:solidFill>
              </a:defRPr>
            </a:lvl1pPr>
          </a:lstStyle>
          <a:p>
            <a:pPr lvl="0"/>
            <a:r>
              <a:rPr lang="en-US" dirty="0"/>
              <a:t>Title 1</a:t>
            </a:r>
            <a:br>
              <a:rPr lang="en-US" dirty="0"/>
            </a:br>
            <a:r>
              <a:rPr lang="en-US" dirty="0"/>
              <a:t>Title 2</a:t>
            </a:r>
            <a:br>
              <a:rPr lang="en-US" dirty="0"/>
            </a:br>
            <a:r>
              <a:rPr lang="en-US" dirty="0"/>
              <a:t>Company Name</a:t>
            </a:r>
          </a:p>
        </p:txBody>
      </p:sp>
      <p:sp>
        <p:nvSpPr>
          <p:cNvPr id="25" name="Footer Placeholder 2">
            <a:extLst>
              <a:ext uri="{FF2B5EF4-FFF2-40B4-BE49-F238E27FC236}">
                <a16:creationId xmlns:a16="http://schemas.microsoft.com/office/drawing/2014/main" id="{D26BAF86-1483-1B44-B9BD-15A9B06F992D}"/>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rgbClr val="939598"/>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rgbClr val="939598"/>
                </a:solidFill>
                <a:latin typeface="Arial" panose="020B0604020202020204" pitchFamily="34" charset="0"/>
                <a:cs typeface="Arial" panose="020B0604020202020204" pitchFamily="34" charset="0"/>
              </a:rPr>
              <a:pPr algn="r"/>
              <a:t>8/17/2022</a:t>
            </a:fld>
            <a:r>
              <a:rPr lang="en-US" sz="900" b="0" i="0" dirty="0">
                <a:solidFill>
                  <a:srgbClr val="939598"/>
                </a:solidFill>
                <a:latin typeface="Arial" panose="020B0604020202020204" pitchFamily="34" charset="0"/>
                <a:cs typeface="Arial" panose="020B0604020202020204" pitchFamily="34" charset="0"/>
              </a:rPr>
              <a:t> </a:t>
            </a:r>
          </a:p>
        </p:txBody>
      </p:sp>
      <p:pic>
        <p:nvPicPr>
          <p:cNvPr id="39" name="Picture 38">
            <a:extLst>
              <a:ext uri="{FF2B5EF4-FFF2-40B4-BE49-F238E27FC236}">
                <a16:creationId xmlns:a16="http://schemas.microsoft.com/office/drawing/2014/main" id="{71ABF444-7BA6-3A45-A7EB-CD942E2889E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69" y="6396222"/>
            <a:ext cx="918088" cy="291627"/>
          </a:xfrm>
          <a:prstGeom prst="rect">
            <a:avLst/>
          </a:prstGeom>
        </p:spPr>
      </p:pic>
      <p:sp>
        <p:nvSpPr>
          <p:cNvPr id="40" name="Title 1">
            <a:extLst>
              <a:ext uri="{FF2B5EF4-FFF2-40B4-BE49-F238E27FC236}">
                <a16:creationId xmlns:a16="http://schemas.microsoft.com/office/drawing/2014/main" id="{C906A139-2632-A749-AA69-8909EF41A7EA}"/>
              </a:ext>
            </a:extLst>
          </p:cNvPr>
          <p:cNvSpPr>
            <a:spLocks noGrp="1"/>
          </p:cNvSpPr>
          <p:nvPr>
            <p:ph type="title"/>
          </p:nvPr>
        </p:nvSpPr>
        <p:spPr>
          <a:xfrm>
            <a:off x="670969" y="1310119"/>
            <a:ext cx="3504791" cy="2150649"/>
          </a:xfrm>
        </p:spPr>
        <p:txBody>
          <a:bodyPr anchor="b">
            <a:noAutofit/>
          </a:bodyPr>
          <a:lstStyle>
            <a:lvl1pPr>
              <a:lnSpc>
                <a:spcPts val="3600"/>
              </a:lnSpc>
              <a:defRPr sz="3200">
                <a:solidFill>
                  <a:schemeClr val="bg1"/>
                </a:solidFill>
              </a:defRPr>
            </a:lvl1pPr>
          </a:lstStyle>
          <a:p>
            <a:r>
              <a:rPr lang="en-US" dirty="0"/>
              <a:t>Click to edit Master title style</a:t>
            </a:r>
          </a:p>
        </p:txBody>
      </p:sp>
      <p:cxnSp>
        <p:nvCxnSpPr>
          <p:cNvPr id="42" name="Straight Connector 41">
            <a:extLst>
              <a:ext uri="{FF2B5EF4-FFF2-40B4-BE49-F238E27FC236}">
                <a16:creationId xmlns:a16="http://schemas.microsoft.com/office/drawing/2014/main" id="{9B6CE946-4A33-7649-B70C-4F77B83607F1}"/>
              </a:ext>
            </a:extLst>
          </p:cNvPr>
          <p:cNvCxnSpPr>
            <a:cxnSpLocks/>
          </p:cNvCxnSpPr>
          <p:nvPr userDrawn="1"/>
        </p:nvCxnSpPr>
        <p:spPr>
          <a:xfrm>
            <a:off x="673281" y="3860229"/>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34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35" presetClass="path" presetSubtype="0" decel="100000" fill="hold" nodeType="withEffect">
                                  <p:stCondLst>
                                    <p:cond delay="0"/>
                                  </p:stCondLst>
                                  <p:childTnLst>
                                    <p:animMotion origin="layout" path="M -4.375E-6 3.33333E-6 L -0.08932 3.33333E-6 " pathEditMode="relative" rAng="0" ptsTypes="AA">
                                      <p:cBhvr>
                                        <p:cTn id="9" dur="1000" spd="-100000" fill="hold"/>
                                        <p:tgtEl>
                                          <p:spTgt spid="4"/>
                                        </p:tgtEl>
                                        <p:attrNameLst>
                                          <p:attrName>ppt_x</p:attrName>
                                          <p:attrName>ppt_y</p:attrName>
                                        </p:attrNameLst>
                                      </p:cBhvr>
                                      <p:rCtr x="-4466" y="0"/>
                                    </p:animMotion>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750"/>
                                        <p:tgtEl>
                                          <p:spTgt spid="40"/>
                                        </p:tgtEl>
                                      </p:cBhvr>
                                    </p:animEffect>
                                  </p:childTnLst>
                                </p:cTn>
                              </p:par>
                              <p:par>
                                <p:cTn id="13" presetID="10" presetClass="entr" presetSubtype="0" fill="hold" nodeType="withEffect">
                                  <p:stCondLst>
                                    <p:cond delay="50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7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extLst>
    <p:ext uri="{DCECCB84-F9BA-43D5-87BE-67443E8EF086}">
      <p15:sldGuideLst xmlns:p15="http://schemas.microsoft.com/office/powerpoint/2012/main">
        <p15:guide id="1" orient="horz" pos="2712">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4" name="Group 3"/>
          <p:cNvGrpSpPr/>
          <p:nvPr userDrawn="1"/>
        </p:nvGrpSpPr>
        <p:grpSpPr>
          <a:xfrm>
            <a:off x="0" y="0"/>
            <a:ext cx="4632287" cy="6858000"/>
            <a:chOff x="198120" y="0"/>
            <a:chExt cx="4632287" cy="6858000"/>
          </a:xfrm>
        </p:grpSpPr>
        <p:sp>
          <p:nvSpPr>
            <p:cNvPr id="9" name="Rectangle 8"/>
            <p:cNvSpPr/>
            <p:nvPr userDrawn="1"/>
          </p:nvSpPr>
          <p:spPr>
            <a:xfrm>
              <a:off x="198120" y="0"/>
              <a:ext cx="442444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4E4300EB-1F29-4DBF-9FE6-CE568DDB7E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16200000">
              <a:off x="1297484" y="3325076"/>
              <a:ext cx="6858000" cy="207847"/>
            </a:xfrm>
            <a:prstGeom prst="rect">
              <a:avLst/>
            </a:prstGeom>
          </p:spPr>
        </p:pic>
      </p:grpSp>
      <p:sp>
        <p:nvSpPr>
          <p:cNvPr id="2" name="Title 1">
            <a:extLst>
              <a:ext uri="{FF2B5EF4-FFF2-40B4-BE49-F238E27FC236}">
                <a16:creationId xmlns:a16="http://schemas.microsoft.com/office/drawing/2014/main" id="{5CF704F1-3A31-4CB0-B424-E19EEBAA6701}"/>
              </a:ext>
            </a:extLst>
          </p:cNvPr>
          <p:cNvSpPr>
            <a:spLocks noGrp="1"/>
          </p:cNvSpPr>
          <p:nvPr>
            <p:ph type="title"/>
          </p:nvPr>
        </p:nvSpPr>
        <p:spPr>
          <a:xfrm>
            <a:off x="670969" y="1310119"/>
            <a:ext cx="3504791" cy="2150649"/>
          </a:xfrm>
        </p:spPr>
        <p:txBody>
          <a:bodyPr anchor="b">
            <a:noAutofit/>
          </a:bodyPr>
          <a:lstStyle>
            <a:lvl1pPr>
              <a:lnSpc>
                <a:spcPts val="3600"/>
              </a:lnSpc>
              <a:defRPr sz="3200">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D11169BC-CFED-4476-9911-CAAF4CC486A0}"/>
              </a:ext>
            </a:extLst>
          </p:cNvPr>
          <p:cNvSpPr>
            <a:spLocks noGrp="1"/>
          </p:cNvSpPr>
          <p:nvPr>
            <p:ph sz="half" idx="1"/>
          </p:nvPr>
        </p:nvSpPr>
        <p:spPr>
          <a:xfrm>
            <a:off x="5658443" y="1310119"/>
            <a:ext cx="5509664" cy="4363696"/>
          </a:xfrm>
        </p:spPr>
        <p:txBody>
          <a:bodyPr lIns="0" tIns="0" rIns="45720" bIns="0" anchor="ctr"/>
          <a:lstStyle>
            <a:lvl1pPr marL="228600" indent="-228600">
              <a:lnSpc>
                <a:spcPts val="3200"/>
              </a:lnSpc>
              <a:spcBef>
                <a:spcPts val="0"/>
              </a:spcBef>
              <a:spcAft>
                <a:spcPts val="1200"/>
              </a:spcAft>
              <a:buFont typeface="Arial" panose="020B0604020202020204" pitchFamily="34" charset="0"/>
              <a:buChar char="•"/>
              <a:tabLst/>
              <a:defRPr sz="2800"/>
            </a:lvl1pPr>
            <a:lvl2pPr marL="457200" indent="-228600">
              <a:lnSpc>
                <a:spcPts val="2800"/>
              </a:lnSpc>
              <a:spcBef>
                <a:spcPts val="0"/>
              </a:spcBef>
              <a:spcAft>
                <a:spcPts val="1200"/>
              </a:spcAft>
              <a:defRPr sz="2400"/>
            </a:lvl2pPr>
            <a:lvl3pPr marL="685800" indent="-228600">
              <a:lnSpc>
                <a:spcPts val="2200"/>
              </a:lnSpc>
              <a:spcBef>
                <a:spcPts val="0"/>
              </a:spcBef>
              <a:spcAft>
                <a:spcPts val="1200"/>
              </a:spcAft>
              <a:defRPr/>
            </a:lvl3pPr>
            <a:lvl4pPr>
              <a:spcBef>
                <a:spcPts val="1200"/>
              </a:spcBef>
              <a:spcAft>
                <a:spcPts val="1200"/>
              </a:spcAft>
              <a:defRPr/>
            </a:lvl4pPr>
            <a:lvl5pPr>
              <a:spcBef>
                <a:spcPts val="1200"/>
              </a:spcBef>
              <a:spcAft>
                <a:spcPts val="1200"/>
              </a:spcAft>
              <a:defRPr/>
            </a:lvl5pPr>
          </a:lstStyle>
          <a:p>
            <a:pPr lvl="0"/>
            <a:r>
              <a:rPr lang="en-US" dirty="0"/>
              <a:t>Click to edit Master text styles</a:t>
            </a:r>
          </a:p>
          <a:p>
            <a:pPr lvl="1"/>
            <a:r>
              <a:rPr lang="en-US" dirty="0"/>
              <a:t>Second level</a:t>
            </a:r>
          </a:p>
          <a:p>
            <a:pPr lvl="2"/>
            <a:r>
              <a:rPr lang="en-US" dirty="0"/>
              <a:t>Third level</a:t>
            </a:r>
          </a:p>
        </p:txBody>
      </p:sp>
      <p:sp>
        <p:nvSpPr>
          <p:cNvPr id="7" name="Slide Number Placeholder 6">
            <a:extLst>
              <a:ext uri="{FF2B5EF4-FFF2-40B4-BE49-F238E27FC236}">
                <a16:creationId xmlns:a16="http://schemas.microsoft.com/office/drawing/2014/main" id="{C7F7E0F6-24ED-47B8-807E-0FA8EFA9E8A7}"/>
              </a:ext>
            </a:extLst>
          </p:cNvPr>
          <p:cNvSpPr>
            <a:spLocks noGrp="1"/>
          </p:cNvSpPr>
          <p:nvPr>
            <p:ph type="sldNum" sz="quarter" idx="12"/>
          </p:nvPr>
        </p:nvSpPr>
        <p:spPr/>
        <p:txBody>
          <a:bodyPr/>
          <a:lstStyle/>
          <a:p>
            <a:fld id="{8A6D9EF2-1078-4CF1-AE32-B8E5CFC7CD9F}" type="slidenum">
              <a:rPr lang="en-US" smtClean="0"/>
              <a:pPr/>
              <a:t>‹#›</a:t>
            </a:fld>
            <a:endParaRPr lang="en-US" dirty="0"/>
          </a:p>
        </p:txBody>
      </p:sp>
      <p:sp>
        <p:nvSpPr>
          <p:cNvPr id="12" name="Subtitle 2">
            <a:extLst>
              <a:ext uri="{FF2B5EF4-FFF2-40B4-BE49-F238E27FC236}">
                <a16:creationId xmlns:a16="http://schemas.microsoft.com/office/drawing/2014/main" id="{BD11FB02-C0B2-4BD4-BE01-7BEE43AB3928}"/>
              </a:ext>
            </a:extLst>
          </p:cNvPr>
          <p:cNvSpPr>
            <a:spLocks noGrp="1"/>
          </p:cNvSpPr>
          <p:nvPr>
            <p:ph type="subTitle" idx="13"/>
          </p:nvPr>
        </p:nvSpPr>
        <p:spPr>
          <a:xfrm>
            <a:off x="670969" y="4076360"/>
            <a:ext cx="3504791" cy="1597455"/>
          </a:xfrm>
        </p:spPr>
        <p:txBody>
          <a:bodyPr lIns="0" tIns="0" rIns="0" bIns="0">
            <a:noAutofit/>
          </a:bodyPr>
          <a:lstStyle>
            <a:lvl1pPr marL="0" indent="0" algn="l">
              <a:lnSpc>
                <a:spcPts val="2800"/>
              </a:lnSpc>
              <a:buNone/>
              <a:defRPr sz="2400" spc="8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221" name="Straight Connector 220">
            <a:extLst>
              <a:ext uri="{FF2B5EF4-FFF2-40B4-BE49-F238E27FC236}">
                <a16:creationId xmlns:a16="http://schemas.microsoft.com/office/drawing/2014/main" id="{9758FBB0-1CB8-4647-8216-3B2DDEF43196}"/>
              </a:ext>
            </a:extLst>
          </p:cNvPr>
          <p:cNvCxnSpPr>
            <a:cxnSpLocks/>
          </p:cNvCxnSpPr>
          <p:nvPr userDrawn="1"/>
        </p:nvCxnSpPr>
        <p:spPr>
          <a:xfrm>
            <a:off x="673281" y="3860229"/>
            <a:ext cx="1194254" cy="0"/>
          </a:xfrm>
          <a:prstGeom prst="line">
            <a:avLst/>
          </a:prstGeom>
          <a:ln w="31750">
            <a:solidFill>
              <a:srgbClr val="003555"/>
            </a:solidFill>
          </a:ln>
        </p:spPr>
        <p:style>
          <a:lnRef idx="1">
            <a:schemeClr val="accent1"/>
          </a:lnRef>
          <a:fillRef idx="0">
            <a:schemeClr val="accent1"/>
          </a:fillRef>
          <a:effectRef idx="0">
            <a:schemeClr val="accent1"/>
          </a:effectRef>
          <a:fontRef idx="minor">
            <a:schemeClr val="tx1"/>
          </a:fontRef>
        </p:style>
      </p:cxnSp>
      <p:sp>
        <p:nvSpPr>
          <p:cNvPr id="23" name="Footer Placeholder 2">
            <a:extLst>
              <a:ext uri="{FF2B5EF4-FFF2-40B4-BE49-F238E27FC236}">
                <a16:creationId xmlns:a16="http://schemas.microsoft.com/office/drawing/2014/main" id="{A1E3FFF4-C913-4DA0-87AF-F8873E64C6FB}"/>
              </a:ext>
            </a:extLst>
          </p:cNvPr>
          <p:cNvSpPr txBox="1">
            <a:spLocks/>
          </p:cNvSpPr>
          <p:nvPr userDrawn="1"/>
        </p:nvSpPr>
        <p:spPr>
          <a:xfrm>
            <a:off x="8138979" y="6559095"/>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rgbClr val="939598"/>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rgbClr val="939598"/>
                </a:solidFill>
                <a:latin typeface="Arial" panose="020B0604020202020204" pitchFamily="34" charset="0"/>
                <a:cs typeface="Arial" panose="020B0604020202020204" pitchFamily="34" charset="0"/>
              </a:rPr>
              <a:pPr algn="r"/>
              <a:t>8/17/2022</a:t>
            </a:fld>
            <a:r>
              <a:rPr lang="en-US" sz="900" b="0" i="0" dirty="0">
                <a:solidFill>
                  <a:srgbClr val="939598"/>
                </a:solidFill>
                <a:latin typeface="Arial" panose="020B0604020202020204" pitchFamily="34" charset="0"/>
                <a:cs typeface="Arial" panose="020B0604020202020204" pitchFamily="34" charset="0"/>
              </a:rPr>
              <a:t> </a:t>
            </a:r>
          </a:p>
        </p:txBody>
      </p:sp>
      <p:cxnSp>
        <p:nvCxnSpPr>
          <p:cNvPr id="24" name="Straight Connector 23">
            <a:extLst>
              <a:ext uri="{FF2B5EF4-FFF2-40B4-BE49-F238E27FC236}">
                <a16:creationId xmlns:a16="http://schemas.microsoft.com/office/drawing/2014/main" id="{8D169214-BF3E-46FC-9309-1F79ADEAEAA0}"/>
              </a:ext>
            </a:extLst>
          </p:cNvPr>
          <p:cNvCxnSpPr/>
          <p:nvPr userDrawn="1"/>
        </p:nvCxnSpPr>
        <p:spPr>
          <a:xfrm>
            <a:off x="11179926" y="6542036"/>
            <a:ext cx="0" cy="174157"/>
          </a:xfrm>
          <a:prstGeom prst="line">
            <a:avLst/>
          </a:prstGeom>
          <a:ln w="9525" cap="flat" cmpd="sng" algn="ctr">
            <a:solidFill>
              <a:schemeClr val="bg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530B53CC-0492-B143-84E9-24F43352586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0969" y="6396222"/>
            <a:ext cx="918088" cy="291627"/>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35" presetClass="path" presetSubtype="0" decel="100000" fill="hold" nodeType="withEffect">
                                  <p:stCondLst>
                                    <p:cond delay="0"/>
                                  </p:stCondLst>
                                  <p:childTnLst>
                                    <p:animMotion origin="layout" path="M -4.375E-6 3.33333E-6 L -0.08932 3.33333E-6 " pathEditMode="relative" rAng="0" ptsTypes="AA">
                                      <p:cBhvr>
                                        <p:cTn id="9" dur="1000" spd="-100000" fill="hold"/>
                                        <p:tgtEl>
                                          <p:spTgt spid="4"/>
                                        </p:tgtEl>
                                        <p:attrNameLst>
                                          <p:attrName>ppt_x</p:attrName>
                                          <p:attrName>ppt_y</p:attrName>
                                        </p:attrNameLst>
                                      </p:cBhvr>
                                      <p:rCtr x="-4466" y="0"/>
                                    </p:animMotion>
                                  </p:childTnLst>
                                </p:cTn>
                              </p:par>
                              <p:par>
                                <p:cTn id="10" presetID="10" presetClass="entr" presetSubtype="0" fill="hold" grpId="0" nodeType="withEffect">
                                  <p:stCondLst>
                                    <p:cond delay="5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750"/>
                                        <p:tgtEl>
                                          <p:spTgt spid="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12">
                                            <p:txEl>
                                              <p:pRg st="0" end="0"/>
                                            </p:txEl>
                                          </p:spTgt>
                                        </p:tgtEl>
                                        <p:attrNameLst>
                                          <p:attrName>style.visibility</p:attrName>
                                        </p:attrNameLst>
                                      </p:cBhvr>
                                      <p:to>
                                        <p:strVal val="visible"/>
                                      </p:to>
                                    </p:set>
                                    <p:animEffect transition="in" filter="fade">
                                      <p:cBhvr>
                                        <p:cTn id="15" dur="750"/>
                                        <p:tgtEl>
                                          <p:spTgt spid="12">
                                            <p:txEl>
                                              <p:pRg st="0" end="0"/>
                                            </p:txEl>
                                          </p:spTgt>
                                        </p:tgtEl>
                                      </p:cBhvr>
                                    </p:animEffect>
                                  </p:childTnLst>
                                </p:cTn>
                              </p:par>
                              <p:par>
                                <p:cTn id="16" presetID="10" presetClass="entr" presetSubtype="0" fill="hold" nodeType="withEffect">
                                  <p:stCondLst>
                                    <p:cond delay="500"/>
                                  </p:stCondLst>
                                  <p:childTnLst>
                                    <p:set>
                                      <p:cBhvr>
                                        <p:cTn id="17" dur="1" fill="hold">
                                          <p:stCondLst>
                                            <p:cond delay="0"/>
                                          </p:stCondLst>
                                        </p:cTn>
                                        <p:tgtEl>
                                          <p:spTgt spid="221"/>
                                        </p:tgtEl>
                                        <p:attrNameLst>
                                          <p:attrName>style.visibility</p:attrName>
                                        </p:attrNameLst>
                                      </p:cBhvr>
                                      <p:to>
                                        <p:strVal val="visible"/>
                                      </p:to>
                                    </p:set>
                                    <p:animEffect transition="in" filter="fade">
                                      <p:cBhvr>
                                        <p:cTn id="18" dur="750"/>
                                        <p:tgtEl>
                                          <p:spTgt spid="221"/>
                                        </p:tgtEl>
                                      </p:cBhvr>
                                    </p:animEffect>
                                  </p:childTnLst>
                                </p:cTn>
                              </p:par>
                              <p:par>
                                <p:cTn id="19" presetID="10" presetClass="entr" presetSubtype="0" fill="hold" grpId="0" nodeType="withEffect">
                                  <p:stCondLst>
                                    <p:cond delay="500"/>
                                  </p:stCondLst>
                                  <p:childTnLst>
                                    <p:set>
                                      <p:cBhvr>
                                        <p:cTn id="20" dur="1" fill="hold">
                                          <p:stCondLst>
                                            <p:cond delay="0"/>
                                          </p:stCondLst>
                                        </p:cTn>
                                        <p:tgtEl>
                                          <p:spTgt spid="3">
                                            <p:txEl>
                                              <p:pRg st="0" end="0"/>
                                            </p:txEl>
                                          </p:spTgt>
                                        </p:tgtEl>
                                        <p:attrNameLst>
                                          <p:attrName>style.visibility</p:attrName>
                                        </p:attrNameLst>
                                      </p:cBhvr>
                                      <p:to>
                                        <p:strVal val="visible"/>
                                      </p:to>
                                    </p:set>
                                    <p:animEffect transition="in" filter="fade">
                                      <p:cBhvr>
                                        <p:cTn id="21" dur="750"/>
                                        <p:tgtEl>
                                          <p:spTgt spid="3">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3">
                                            <p:txEl>
                                              <p:pRg st="1" end="1"/>
                                            </p:txEl>
                                          </p:spTgt>
                                        </p:tgtEl>
                                        <p:attrNameLst>
                                          <p:attrName>style.visibility</p:attrName>
                                        </p:attrNameLst>
                                      </p:cBhvr>
                                      <p:to>
                                        <p:strVal val="visible"/>
                                      </p:to>
                                    </p:set>
                                    <p:animEffect transition="in" filter="fade">
                                      <p:cBhvr>
                                        <p:cTn id="24" dur="750"/>
                                        <p:tgtEl>
                                          <p:spTgt spid="3">
                                            <p:txEl>
                                              <p:pRg st="1" end="1"/>
                                            </p:txEl>
                                          </p:spTgt>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3">
                                            <p:txEl>
                                              <p:pRg st="2" end="2"/>
                                            </p:txEl>
                                          </p:spTgt>
                                        </p:tgtEl>
                                        <p:attrNameLst>
                                          <p:attrName>style.visibility</p:attrName>
                                        </p:attrNameLst>
                                      </p:cBhvr>
                                      <p:to>
                                        <p:strVal val="visible"/>
                                      </p:to>
                                    </p:set>
                                    <p:animEffect transition="in" filter="fade">
                                      <p:cBhvr>
                                        <p:cTn id="27" dur="75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 lvl="2">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 lvl="3">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 lvl="4">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 lvl="5">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12" grpId="0" build="p">
        <p:tmplLst>
          <p:tmpl lvl="1">
            <p:tnLst>
              <p:par>
                <p:cTn presetID="10" presetClass="entr" presetSubtype="0" fill="hold" nodeType="withEffect">
                  <p:stCondLst>
                    <p:cond delay="500"/>
                  </p:stCondLst>
                  <p:childTnLst>
                    <p:set>
                      <p:cBhvr>
                        <p:cTn dur="1" fill="hold">
                          <p:stCondLst>
                            <p:cond delay="0"/>
                          </p:stCondLst>
                        </p:cTn>
                        <p:tgtEl>
                          <p:spTgt spid="12"/>
                        </p:tgtEl>
                        <p:attrNameLst>
                          <p:attrName>style.visibility</p:attrName>
                        </p:attrNameLst>
                      </p:cBhvr>
                      <p:to>
                        <p:strVal val="visible"/>
                      </p:to>
                    </p:set>
                    <p:animEffect transition="in" filter="fade">
                      <p:cBhvr>
                        <p:cTn dur="750"/>
                        <p:tgtEl>
                          <p:spTgt spid="12"/>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491583E-0D62-4C8A-B69F-B491F4A3B2C8}"/>
              </a:ext>
            </a:extLst>
          </p:cNvPr>
          <p:cNvSpPr>
            <a:spLocks noGrp="1"/>
          </p:cNvSpPr>
          <p:nvPr>
            <p:ph type="title"/>
          </p:nvPr>
        </p:nvSpPr>
        <p:spPr>
          <a:xfrm>
            <a:off x="670969" y="246858"/>
            <a:ext cx="10850063" cy="891682"/>
          </a:xfrm>
          <a:prstGeom prst="rect">
            <a:avLst/>
          </a:prstGeom>
        </p:spPr>
        <p:txBody>
          <a:bodyPr vert="horz" lIns="0" tIns="0" rIns="0" bIns="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9FE741D4-86D2-45A3-A75C-E5ADF38498E9}"/>
              </a:ext>
            </a:extLst>
          </p:cNvPr>
          <p:cNvSpPr>
            <a:spLocks noGrp="1"/>
          </p:cNvSpPr>
          <p:nvPr>
            <p:ph type="body" idx="1"/>
          </p:nvPr>
        </p:nvSpPr>
        <p:spPr>
          <a:xfrm>
            <a:off x="670969" y="1947801"/>
            <a:ext cx="10850063" cy="4229799"/>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a:extLst>
              <a:ext uri="{FF2B5EF4-FFF2-40B4-BE49-F238E27FC236}">
                <a16:creationId xmlns:a16="http://schemas.microsoft.com/office/drawing/2014/main" id="{81A6A169-218B-4890-B7A7-1CBBD96502C7}"/>
              </a:ext>
            </a:extLst>
          </p:cNvPr>
          <p:cNvSpPr>
            <a:spLocks noGrp="1"/>
          </p:cNvSpPr>
          <p:nvPr>
            <p:ph type="ftr" sz="quarter" idx="3"/>
          </p:nvPr>
        </p:nvSpPr>
        <p:spPr>
          <a:xfrm>
            <a:off x="1767508" y="6550738"/>
            <a:ext cx="6400800" cy="150207"/>
          </a:xfrm>
          <a:prstGeom prst="rect">
            <a:avLst/>
          </a:prstGeom>
        </p:spPr>
        <p:txBody>
          <a:bodyPr vert="horz" lIns="0" tIns="0" rIns="0" bIns="0" rtlCol="0" anchor="ctr"/>
          <a:lstStyle>
            <a:lvl1pPr algn="l">
              <a:defRPr sz="900">
                <a:solidFill>
                  <a:schemeClr val="bg2"/>
                </a:solidFill>
              </a:defRPr>
            </a:lvl1pPr>
          </a:lstStyle>
          <a:p>
            <a:endParaRPr lang="en-US" dirty="0"/>
          </a:p>
        </p:txBody>
      </p:sp>
      <p:sp>
        <p:nvSpPr>
          <p:cNvPr id="6" name="Slide Number Placeholder 5">
            <a:extLst>
              <a:ext uri="{FF2B5EF4-FFF2-40B4-BE49-F238E27FC236}">
                <a16:creationId xmlns:a16="http://schemas.microsoft.com/office/drawing/2014/main" id="{75A45231-1531-44B4-80B2-7325B4856519}"/>
              </a:ext>
            </a:extLst>
          </p:cNvPr>
          <p:cNvSpPr>
            <a:spLocks noGrp="1"/>
          </p:cNvSpPr>
          <p:nvPr>
            <p:ph type="sldNum" sz="quarter" idx="4"/>
          </p:nvPr>
        </p:nvSpPr>
        <p:spPr>
          <a:xfrm>
            <a:off x="11179926" y="6559095"/>
            <a:ext cx="341105" cy="138499"/>
          </a:xfrm>
          <a:prstGeom prst="rect">
            <a:avLst/>
          </a:prstGeom>
        </p:spPr>
        <p:txBody>
          <a:bodyPr vert="horz" lIns="0" tIns="0" rIns="0" bIns="0" rtlCol="0" anchor="ctr"/>
          <a:lstStyle>
            <a:lvl1pPr algn="r">
              <a:defRPr sz="900">
                <a:solidFill>
                  <a:schemeClr val="bg2"/>
                </a:solidFill>
              </a:defRPr>
            </a:lvl1pPr>
          </a:lstStyle>
          <a:p>
            <a:fld id="{8A6D9EF2-1078-4CF1-AE32-B8E5CFC7CD9F}" type="slidenum">
              <a:rPr lang="en-US" smtClean="0"/>
              <a:pPr/>
              <a:t>‹#›</a:t>
            </a:fld>
            <a:endParaRPr lang="en-US" dirty="0"/>
          </a:p>
        </p:txBody>
      </p:sp>
      <p:cxnSp>
        <p:nvCxnSpPr>
          <p:cNvPr id="19" name="Straight Connector 18">
            <a:extLst>
              <a:ext uri="{FF2B5EF4-FFF2-40B4-BE49-F238E27FC236}">
                <a16:creationId xmlns:a16="http://schemas.microsoft.com/office/drawing/2014/main" id="{DF31F1F9-1773-4A13-90EE-1E7B60D8B2A0}"/>
              </a:ext>
            </a:extLst>
          </p:cNvPr>
          <p:cNvCxnSpPr/>
          <p:nvPr/>
        </p:nvCxnSpPr>
        <p:spPr>
          <a:xfrm>
            <a:off x="11179926" y="6542036"/>
            <a:ext cx="0" cy="174157"/>
          </a:xfrm>
          <a:prstGeom prst="line">
            <a:avLst/>
          </a:prstGeom>
          <a:ln w="9525" cap="flat" cmpd="sng" algn="ctr">
            <a:solidFill>
              <a:schemeClr val="bg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Footer Placeholder 2">
            <a:extLst>
              <a:ext uri="{FF2B5EF4-FFF2-40B4-BE49-F238E27FC236}">
                <a16:creationId xmlns:a16="http://schemas.microsoft.com/office/drawing/2014/main" id="{B4D188BB-28C4-F945-84A4-0A623280A0C5}"/>
              </a:ext>
            </a:extLst>
          </p:cNvPr>
          <p:cNvSpPr txBox="1">
            <a:spLocks/>
          </p:cNvSpPr>
          <p:nvPr/>
        </p:nvSpPr>
        <p:spPr>
          <a:xfrm>
            <a:off x="8206499" y="6569623"/>
            <a:ext cx="2925481" cy="138499"/>
          </a:xfrm>
          <a:prstGeom prst="rect">
            <a:avLst/>
          </a:prstGeom>
        </p:spPr>
        <p:txBody>
          <a:bodyPr wrap="non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0" i="0" dirty="0">
                <a:solidFill>
                  <a:srgbClr val="939598"/>
                </a:solidFill>
                <a:latin typeface="Arial" panose="020B0604020202020204" pitchFamily="34" charset="0"/>
                <a:cs typeface="Arial" panose="020B0604020202020204" pitchFamily="34" charset="0"/>
              </a:rPr>
              <a:t>© ICE Mortgage Technology. All rights reserved. </a:t>
            </a:r>
            <a:fld id="{D604F5DE-393E-3C48-9BC1-CAC846FC2771}" type="datetime1">
              <a:rPr lang="en-US" sz="900" b="0" i="0" smtClean="0">
                <a:solidFill>
                  <a:srgbClr val="939598"/>
                </a:solidFill>
                <a:latin typeface="Arial" panose="020B0604020202020204" pitchFamily="34" charset="0"/>
                <a:cs typeface="Arial" panose="020B0604020202020204" pitchFamily="34" charset="0"/>
              </a:rPr>
              <a:pPr algn="r"/>
              <a:t>8/17/2022</a:t>
            </a:fld>
            <a:r>
              <a:rPr lang="en-US" sz="900" b="0" i="0" dirty="0">
                <a:solidFill>
                  <a:srgbClr val="939598"/>
                </a:solidFill>
                <a:latin typeface="Arial" panose="020B0604020202020204" pitchFamily="34" charset="0"/>
                <a:cs typeface="Arial" panose="020B0604020202020204" pitchFamily="34" charset="0"/>
              </a:rPr>
              <a:t> </a:t>
            </a:r>
          </a:p>
        </p:txBody>
      </p:sp>
      <p:pic>
        <p:nvPicPr>
          <p:cNvPr id="21" name="Picture 20" descr="A picture containing clock&#10;&#10;Description automatically generated">
            <a:extLst>
              <a:ext uri="{FF2B5EF4-FFF2-40B4-BE49-F238E27FC236}">
                <a16:creationId xmlns:a16="http://schemas.microsoft.com/office/drawing/2014/main" id="{C64DC10F-DE54-6D49-AE9A-321C995754F1}"/>
              </a:ext>
            </a:extLst>
          </p:cNvPr>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670969" y="6416494"/>
            <a:ext cx="918088" cy="291628"/>
          </a:xfrm>
          <a:prstGeom prst="rect">
            <a:avLst/>
          </a:prstGeom>
        </p:spPr>
      </p:pic>
    </p:spTree>
    <p:extLst>
      <p:ext uri="{BB962C8B-B14F-4D97-AF65-F5344CB8AC3E}">
        <p14:creationId xmlns:p14="http://schemas.microsoft.com/office/powerpoint/2010/main" val="403179654"/>
      </p:ext>
    </p:extLst>
  </p:cSld>
  <p:clrMap bg1="lt1" tx1="dk1" bg2="lt2" tx2="dk2" accent1="accent1" accent2="accent2" accent3="accent3" accent4="accent4" accent5="accent5" accent6="accent6" hlink="hlink" folHlink="folHlink"/>
  <p:sldLayoutIdLst>
    <p:sldLayoutId id="2147483673" r:id="rId1"/>
    <p:sldLayoutId id="2147483745" r:id="rId2"/>
    <p:sldLayoutId id="2147483746" r:id="rId3"/>
    <p:sldLayoutId id="2147483747" r:id="rId4"/>
    <p:sldLayoutId id="2147483748" r:id="rId5"/>
    <p:sldLayoutId id="2147483751" r:id="rId6"/>
    <p:sldLayoutId id="2147483752" r:id="rId7"/>
    <p:sldLayoutId id="2147483753" r:id="rId8"/>
    <p:sldLayoutId id="2147483696" r:id="rId9"/>
    <p:sldLayoutId id="2147483721" r:id="rId10"/>
    <p:sldLayoutId id="2147483759" r:id="rId11"/>
    <p:sldLayoutId id="2147483760" r:id="rId12"/>
    <p:sldLayoutId id="2147483761" r:id="rId13"/>
    <p:sldLayoutId id="2147483762" r:id="rId14"/>
    <p:sldLayoutId id="2147483754" r:id="rId15"/>
    <p:sldLayoutId id="2147483749" r:id="rId16"/>
    <p:sldLayoutId id="2147483685" r:id="rId17"/>
    <p:sldLayoutId id="2147483755" r:id="rId18"/>
    <p:sldLayoutId id="2147483699" r:id="rId19"/>
    <p:sldLayoutId id="2147483724" r:id="rId20"/>
    <p:sldLayoutId id="2147483725" r:id="rId21"/>
    <p:sldLayoutId id="2147483727" r:id="rId22"/>
    <p:sldLayoutId id="2147483674" r:id="rId23"/>
    <p:sldLayoutId id="2147483739" r:id="rId24"/>
    <p:sldLayoutId id="2147483676" r:id="rId25"/>
    <p:sldLayoutId id="2147483740" r:id="rId26"/>
    <p:sldLayoutId id="2147483689" r:id="rId27"/>
    <p:sldLayoutId id="2147483741" r:id="rId28"/>
    <p:sldLayoutId id="2147483678" r:id="rId29"/>
    <p:sldLayoutId id="2147483742" r:id="rId30"/>
    <p:sldLayoutId id="2147483679" r:id="rId31"/>
    <p:sldLayoutId id="2147483698" r:id="rId32"/>
    <p:sldLayoutId id="2147483728" r:id="rId33"/>
    <p:sldLayoutId id="2147483729" r:id="rId34"/>
    <p:sldLayoutId id="2147483730" r:id="rId35"/>
    <p:sldLayoutId id="2147483758" r:id="rId36"/>
    <p:sldLayoutId id="2147483687" r:id="rId37"/>
    <p:sldLayoutId id="2147483743" r:id="rId38"/>
    <p:sldLayoutId id="2147483688" r:id="rId39"/>
    <p:sldLayoutId id="2147483744" r:id="rId40"/>
    <p:sldLayoutId id="2147483722" r:id="rId41"/>
    <p:sldLayoutId id="2147483723" r:id="rId42"/>
    <p:sldLayoutId id="2147483686" r:id="rId43"/>
    <p:sldLayoutId id="2147483756" r:id="rId44"/>
    <p:sldLayoutId id="2147483757" r:id="rId45"/>
    <p:sldLayoutId id="2147483737" r:id="rId46"/>
    <p:sldLayoutId id="2147483684" r:id="rId47"/>
    <p:sldLayoutId id="2147483720" r:id="rId48"/>
    <p:sldLayoutId id="2147483763" r:id="rId4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kern="1200" spc="150" baseline="0">
          <a:solidFill>
            <a:schemeClr val="accent2"/>
          </a:solidFill>
          <a:latin typeface="+mj-lt"/>
          <a:ea typeface="+mj-ea"/>
          <a:cs typeface="+mj-cs"/>
        </a:defRPr>
      </a:lvl1pPr>
    </p:titleStyle>
    <p:bodyStyle>
      <a:lvl1pPr marL="228600" indent="-228600" algn="l" defTabSz="914400" rtl="0" eaLnBrk="1" latinLnBrk="0" hangingPunct="1">
        <a:lnSpc>
          <a:spcPct val="98000"/>
        </a:lnSpc>
        <a:spcBef>
          <a:spcPts val="1200"/>
        </a:spcBef>
        <a:spcAft>
          <a:spcPts val="600"/>
        </a:spcAft>
        <a:buClr>
          <a:schemeClr val="tx2"/>
        </a:buClr>
        <a:buSzPct val="100000"/>
        <a:buFont typeface="Arial" panose="020B0604020202020204" pitchFamily="34" charset="0"/>
        <a:buChar char="•"/>
        <a:defRPr sz="2400" kern="1200">
          <a:solidFill>
            <a:schemeClr val="tx1"/>
          </a:solidFill>
          <a:latin typeface="+mn-lt"/>
          <a:ea typeface="+mn-ea"/>
          <a:cs typeface="+mn-cs"/>
        </a:defRPr>
      </a:lvl1pPr>
      <a:lvl2pPr marL="457200" indent="-236538" algn="l" defTabSz="914400" rtl="0" eaLnBrk="1" latinLnBrk="0" hangingPunct="1">
        <a:lnSpc>
          <a:spcPct val="98000"/>
        </a:lnSpc>
        <a:spcBef>
          <a:spcPts val="0"/>
        </a:spcBef>
        <a:spcAft>
          <a:spcPts val="600"/>
        </a:spcAft>
        <a:buClr>
          <a:schemeClr val="accent1"/>
        </a:buClr>
        <a:buFont typeface="Arial" panose="020B0604020202020204" pitchFamily="34" charset="0"/>
        <a:buChar char="•"/>
        <a:tabLst/>
        <a:defRPr sz="2000" kern="1200">
          <a:solidFill>
            <a:schemeClr val="tx1"/>
          </a:solidFill>
          <a:latin typeface="+mn-lt"/>
          <a:ea typeface="+mn-ea"/>
          <a:cs typeface="+mn-cs"/>
        </a:defRPr>
      </a:lvl2pPr>
      <a:lvl3pPr marL="693738" indent="-222250" algn="l" defTabSz="914400" rtl="0" eaLnBrk="1" latinLnBrk="0" hangingPunct="1">
        <a:lnSpc>
          <a:spcPct val="98000"/>
        </a:lnSpc>
        <a:spcBef>
          <a:spcPts val="0"/>
        </a:spcBef>
        <a:spcAft>
          <a:spcPts val="600"/>
        </a:spcAft>
        <a:buClr>
          <a:schemeClr val="bg2"/>
        </a:buClr>
        <a:buFont typeface="Arial" panose="020B0604020202020204" pitchFamily="34" charset="0"/>
        <a:buChar char="•"/>
        <a:tabLst/>
        <a:defRPr sz="1800" kern="1200">
          <a:solidFill>
            <a:schemeClr val="tx1"/>
          </a:solidFill>
          <a:latin typeface="+mn-lt"/>
          <a:ea typeface="+mn-ea"/>
          <a:cs typeface="+mn-cs"/>
        </a:defRPr>
      </a:lvl3pPr>
      <a:lvl4pPr marL="19050" indent="0" algn="l" defTabSz="914400" rtl="0" eaLnBrk="1" latinLnBrk="0" hangingPunct="1">
        <a:lnSpc>
          <a:spcPct val="98000"/>
        </a:lnSpc>
        <a:spcBef>
          <a:spcPts val="1200"/>
        </a:spcBef>
        <a:spcAft>
          <a:spcPts val="0"/>
        </a:spcAft>
        <a:buFont typeface=".AppleSystemUIFont" charset="-120"/>
        <a:buChar char="​"/>
        <a:tabLst/>
        <a:defRPr sz="2400" b="0" kern="1200">
          <a:solidFill>
            <a:schemeClr val="tx2"/>
          </a:solidFill>
          <a:latin typeface="+mn-lt"/>
          <a:ea typeface="+mn-ea"/>
          <a:cs typeface="+mn-cs"/>
        </a:defRPr>
      </a:lvl4pPr>
      <a:lvl5pPr marL="19050" indent="0" algn="l" defTabSz="914400" rtl="0" eaLnBrk="1" latinLnBrk="0" hangingPunct="1">
        <a:lnSpc>
          <a:spcPct val="98000"/>
        </a:lnSpc>
        <a:spcBef>
          <a:spcPts val="600"/>
        </a:spcBef>
        <a:spcAft>
          <a:spcPts val="600"/>
        </a:spcAft>
        <a:buFont typeface=".AppleSystemUIFont" charset="-120"/>
        <a:buChar char="​"/>
        <a:tabLst/>
        <a:defRPr sz="2000" kern="1200">
          <a:solidFill>
            <a:schemeClr val="tx1"/>
          </a:solidFill>
          <a:latin typeface="+mn-lt"/>
          <a:ea typeface="+mn-ea"/>
          <a:cs typeface="+mn-cs"/>
        </a:defRPr>
      </a:lvl5pPr>
      <a:lvl6pPr marL="19050" indent="0" algn="l" defTabSz="914400" rtl="0" eaLnBrk="1" latinLnBrk="0" hangingPunct="1">
        <a:lnSpc>
          <a:spcPct val="98000"/>
        </a:lnSpc>
        <a:spcBef>
          <a:spcPts val="600"/>
        </a:spcBef>
        <a:spcAft>
          <a:spcPts val="600"/>
        </a:spcAft>
        <a:buFont typeface=".AppleSystemUIFont" charset="-120"/>
        <a:buChar char="​"/>
        <a:tabLst/>
        <a:defRPr sz="1800" kern="1200">
          <a:solidFill>
            <a:schemeClr val="tx1"/>
          </a:solidFill>
          <a:latin typeface="+mn-lt"/>
          <a:ea typeface="+mn-ea"/>
          <a:cs typeface="+mn-cs"/>
        </a:defRPr>
      </a:lvl6pPr>
      <a:lvl7pPr marL="19050" indent="0" algn="l" defTabSz="914400" rtl="0" eaLnBrk="1" latinLnBrk="0" hangingPunct="1">
        <a:lnSpc>
          <a:spcPct val="98000"/>
        </a:lnSpc>
        <a:spcBef>
          <a:spcPts val="600"/>
        </a:spcBef>
        <a:spcAft>
          <a:spcPts val="600"/>
        </a:spcAft>
        <a:buFont typeface=".AppleSystemUIFont" charset="-120"/>
        <a:buChar char="​"/>
        <a:tabLst/>
        <a:defRPr sz="1600" kern="1200">
          <a:solidFill>
            <a:schemeClr val="tx1"/>
          </a:solidFill>
          <a:latin typeface="+mn-lt"/>
          <a:ea typeface="+mn-ea"/>
          <a:cs typeface="+mn-cs"/>
        </a:defRPr>
      </a:lvl7pPr>
      <a:lvl8pPr marL="19050" indent="0" algn="l" defTabSz="914400" rtl="0" eaLnBrk="1" latinLnBrk="0" hangingPunct="1">
        <a:lnSpc>
          <a:spcPct val="98000"/>
        </a:lnSpc>
        <a:spcBef>
          <a:spcPts val="600"/>
        </a:spcBef>
        <a:spcAft>
          <a:spcPts val="600"/>
        </a:spcAft>
        <a:buFont typeface=".AppleSystemUIFont" charset="-120"/>
        <a:buChar char="​"/>
        <a:tabLst/>
        <a:defRPr sz="4000" b="0" kern="1200">
          <a:solidFill>
            <a:schemeClr val="tx2"/>
          </a:solidFill>
          <a:latin typeface="+mn-lt"/>
          <a:ea typeface="+mn-ea"/>
          <a:cs typeface="+mn-cs"/>
        </a:defRPr>
      </a:lvl8pPr>
      <a:lvl9pPr marL="19050" indent="0" algn="l" defTabSz="914400" rtl="0" eaLnBrk="1" latinLnBrk="0" hangingPunct="1">
        <a:lnSpc>
          <a:spcPct val="85000"/>
        </a:lnSpc>
        <a:spcBef>
          <a:spcPts val="600"/>
        </a:spcBef>
        <a:spcAft>
          <a:spcPts val="1200"/>
        </a:spcAft>
        <a:buFont typeface=".AppleSystemUIFont" charset="-120"/>
        <a:buChar char="​"/>
        <a:tabLst/>
        <a:defRPr sz="8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3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Layout" Target="../diagrams/layout1.xml"/><Relationship Id="rId7" Type="http://schemas.openxmlformats.org/officeDocument/2006/relationships/image" Target="../media/image31.jpeg"/><Relationship Id="rId12" Type="http://schemas.microsoft.com/office/2007/relationships/diagramDrawing" Target="../diagrams/drawing2.xml"/><Relationship Id="rId2" Type="http://schemas.openxmlformats.org/officeDocument/2006/relationships/diagramData" Target="../diagrams/data1.xml"/><Relationship Id="rId1" Type="http://schemas.openxmlformats.org/officeDocument/2006/relationships/slideLayout" Target="../slideLayouts/slideLayout37.xml"/><Relationship Id="rId6" Type="http://schemas.microsoft.com/office/2007/relationships/diagramDrawing" Target="../diagrams/drawing1.xml"/><Relationship Id="rId11" Type="http://schemas.openxmlformats.org/officeDocument/2006/relationships/diagramColors" Target="../diagrams/colors2.xml"/><Relationship Id="rId5" Type="http://schemas.openxmlformats.org/officeDocument/2006/relationships/diagramColors" Target="../diagrams/colors1.xml"/><Relationship Id="rId10" Type="http://schemas.openxmlformats.org/officeDocument/2006/relationships/diagramQuickStyle" Target="../diagrams/quickStyle2.xml"/><Relationship Id="rId4" Type="http://schemas.openxmlformats.org/officeDocument/2006/relationships/diagramQuickStyle" Target="../diagrams/quickStyle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76582-9F14-064A-8A49-4A5B84FD9103}"/>
              </a:ext>
            </a:extLst>
          </p:cNvPr>
          <p:cNvSpPr>
            <a:spLocks noGrp="1"/>
          </p:cNvSpPr>
          <p:nvPr>
            <p:ph type="ctrTitle"/>
          </p:nvPr>
        </p:nvSpPr>
        <p:spPr>
          <a:xfrm>
            <a:off x="668839" y="2636980"/>
            <a:ext cx="10208090" cy="826122"/>
          </a:xfrm>
        </p:spPr>
        <p:txBody>
          <a:bodyPr>
            <a:normAutofit fontScale="90000"/>
          </a:bodyPr>
          <a:lstStyle/>
          <a:p>
            <a:r>
              <a:rPr lang="en-US" sz="2800" dirty="0"/>
              <a:t>MLOPSDatabank 1.0</a:t>
            </a:r>
            <a:br>
              <a:rPr lang="en-US" sz="2800" dirty="0">
                <a:solidFill>
                  <a:schemeClr val="accent2">
                    <a:lumMod val="40000"/>
                    <a:lumOff val="60000"/>
                  </a:schemeClr>
                </a:solidFill>
              </a:rPr>
            </a:br>
            <a:r>
              <a:rPr lang="en-US" sz="2800" dirty="0">
                <a:solidFill>
                  <a:schemeClr val="accent2">
                    <a:lumMod val="40000"/>
                    <a:lumOff val="60000"/>
                  </a:schemeClr>
                </a:solidFill>
              </a:rPr>
              <a:t>Feature Deck</a:t>
            </a:r>
            <a:endParaRPr lang="en-US" sz="3600" dirty="0">
              <a:solidFill>
                <a:schemeClr val="accent2">
                  <a:lumMod val="40000"/>
                  <a:lumOff val="60000"/>
                </a:schemeClr>
              </a:solidFill>
            </a:endParaRPr>
          </a:p>
        </p:txBody>
      </p:sp>
      <p:sp>
        <p:nvSpPr>
          <p:cNvPr id="3" name="Text Placeholder 2">
            <a:extLst>
              <a:ext uri="{FF2B5EF4-FFF2-40B4-BE49-F238E27FC236}">
                <a16:creationId xmlns:a16="http://schemas.microsoft.com/office/drawing/2014/main" id="{CEDCAA8A-1736-A84E-8D0C-5BAB64C4E63B}"/>
              </a:ext>
            </a:extLst>
          </p:cNvPr>
          <p:cNvSpPr>
            <a:spLocks noGrp="1"/>
          </p:cNvSpPr>
          <p:nvPr>
            <p:ph type="body" sz="quarter" idx="13"/>
          </p:nvPr>
        </p:nvSpPr>
        <p:spPr>
          <a:xfrm>
            <a:off x="675210" y="4221020"/>
            <a:ext cx="5301815" cy="1600610"/>
          </a:xfrm>
        </p:spPr>
        <p:txBody>
          <a:bodyPr vert="horz" lIns="0" tIns="0" rIns="0" bIns="0" rtlCol="0" anchor="t">
            <a:noAutofit/>
          </a:bodyPr>
          <a:lstStyle/>
          <a:p>
            <a:r>
              <a:rPr lang="en-US" sz="1400" b="1" dirty="0">
                <a:solidFill>
                  <a:schemeClr val="accent2">
                    <a:lumMod val="20000"/>
                    <a:lumOff val="80000"/>
                  </a:schemeClr>
                </a:solidFill>
              </a:rPr>
              <a:t>TEAM DATA BANK</a:t>
            </a:r>
          </a:p>
          <a:p>
            <a:endParaRPr lang="en-US" sz="1400" b="1" dirty="0"/>
          </a:p>
          <a:p>
            <a:endParaRPr lang="en-US" sz="1400" b="1" dirty="0"/>
          </a:p>
          <a:p>
            <a:r>
              <a:rPr lang="en-US" sz="1400" i="1" dirty="0">
                <a:solidFill>
                  <a:schemeClr val="accent1">
                    <a:lumMod val="20000"/>
                    <a:lumOff val="80000"/>
                  </a:schemeClr>
                </a:solidFill>
              </a:rPr>
              <a:t>Presenter:</a:t>
            </a:r>
          </a:p>
          <a:p>
            <a:r>
              <a:rPr lang="en-US" sz="1400" b="1" dirty="0">
                <a:solidFill>
                  <a:schemeClr val="accent1">
                    <a:lumMod val="20000"/>
                    <a:lumOff val="80000"/>
                  </a:schemeClr>
                </a:solidFill>
              </a:rPr>
              <a:t>Omkar Sonar</a:t>
            </a:r>
          </a:p>
          <a:p>
            <a:r>
              <a:rPr lang="en-US" sz="1400" b="1" dirty="0">
                <a:solidFill>
                  <a:schemeClr val="accent1">
                    <a:lumMod val="20000"/>
                    <a:lumOff val="80000"/>
                  </a:schemeClr>
                </a:solidFill>
              </a:rPr>
              <a:t>Chetan Yadav</a:t>
            </a:r>
          </a:p>
          <a:p>
            <a:endParaRPr lang="en-US" sz="1400" b="1" dirty="0">
              <a:solidFill>
                <a:schemeClr val="accent1">
                  <a:lumMod val="20000"/>
                  <a:lumOff val="80000"/>
                </a:schemeClr>
              </a:solidFill>
            </a:endParaRPr>
          </a:p>
          <a:p>
            <a:r>
              <a:rPr lang="en-US" sz="1400" b="1" dirty="0">
                <a:solidFill>
                  <a:schemeClr val="accent1">
                    <a:lumMod val="20000"/>
                    <a:lumOff val="80000"/>
                  </a:schemeClr>
                </a:solidFill>
              </a:rPr>
              <a:t>18-08-2022</a:t>
            </a:r>
          </a:p>
          <a:p>
            <a:endParaRPr lang="en-US" sz="1400" b="1" dirty="0"/>
          </a:p>
        </p:txBody>
      </p:sp>
    </p:spTree>
    <p:extLst>
      <p:ext uri="{BB962C8B-B14F-4D97-AF65-F5344CB8AC3E}">
        <p14:creationId xmlns:p14="http://schemas.microsoft.com/office/powerpoint/2010/main" val="3752410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FCCF3808-435A-4E9D-895A-D83D62BECE10}"/>
              </a:ext>
            </a:extLst>
          </p:cNvPr>
          <p:cNvSpPr>
            <a:spLocks noGrp="1"/>
          </p:cNvSpPr>
          <p:nvPr>
            <p:ph type="title"/>
          </p:nvPr>
        </p:nvSpPr>
        <p:spPr>
          <a:xfrm>
            <a:off x="592072" y="264688"/>
            <a:ext cx="10850063" cy="891682"/>
          </a:xfrm>
        </p:spPr>
        <p:txBody>
          <a:bodyPr>
            <a:normAutofit/>
          </a:bodyPr>
          <a:lstStyle/>
          <a:p>
            <a:r>
              <a:rPr lang="en-US" sz="2400" dirty="0">
                <a:solidFill>
                  <a:schemeClr val="accent2">
                    <a:lumMod val="40000"/>
                    <a:lumOff val="60000"/>
                  </a:schemeClr>
                </a:solidFill>
              </a:rPr>
              <a:t>Data Analytics</a:t>
            </a:r>
          </a:p>
        </p:txBody>
      </p:sp>
      <p:pic>
        <p:nvPicPr>
          <p:cNvPr id="24" name="Picture 23">
            <a:extLst>
              <a:ext uri="{FF2B5EF4-FFF2-40B4-BE49-F238E27FC236}">
                <a16:creationId xmlns:a16="http://schemas.microsoft.com/office/drawing/2014/main" id="{5C888F7F-A538-4B66-899E-21DACB1C1AEF}"/>
              </a:ext>
            </a:extLst>
          </p:cNvPr>
          <p:cNvPicPr>
            <a:picLocks noChangeAspect="1"/>
          </p:cNvPicPr>
          <p:nvPr/>
        </p:nvPicPr>
        <p:blipFill>
          <a:blip r:embed="rId2"/>
          <a:stretch>
            <a:fillRect/>
          </a:stretch>
        </p:blipFill>
        <p:spPr>
          <a:xfrm>
            <a:off x="868668" y="1388303"/>
            <a:ext cx="8672619" cy="4910474"/>
          </a:xfrm>
          <a:prstGeom prst="rect">
            <a:avLst/>
          </a:prstGeom>
        </p:spPr>
      </p:pic>
    </p:spTree>
    <p:extLst>
      <p:ext uri="{BB962C8B-B14F-4D97-AF65-F5344CB8AC3E}">
        <p14:creationId xmlns:p14="http://schemas.microsoft.com/office/powerpoint/2010/main" val="419546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FCCF3808-435A-4E9D-895A-D83D62BECE10}"/>
              </a:ext>
            </a:extLst>
          </p:cNvPr>
          <p:cNvSpPr>
            <a:spLocks noGrp="1"/>
          </p:cNvSpPr>
          <p:nvPr>
            <p:ph type="title"/>
          </p:nvPr>
        </p:nvSpPr>
        <p:spPr>
          <a:xfrm>
            <a:off x="592072" y="264688"/>
            <a:ext cx="10850063" cy="891682"/>
          </a:xfrm>
        </p:spPr>
        <p:txBody>
          <a:bodyPr>
            <a:normAutofit/>
          </a:bodyPr>
          <a:lstStyle/>
          <a:p>
            <a:r>
              <a:rPr lang="en-US" sz="2400" dirty="0">
                <a:solidFill>
                  <a:schemeClr val="accent2">
                    <a:lumMod val="40000"/>
                    <a:lumOff val="60000"/>
                  </a:schemeClr>
                </a:solidFill>
              </a:rPr>
              <a:t>Scalable Cloud based Architecture</a:t>
            </a:r>
          </a:p>
        </p:txBody>
      </p:sp>
      <p:sp>
        <p:nvSpPr>
          <p:cNvPr id="6" name="Right Brace 5">
            <a:extLst>
              <a:ext uri="{FF2B5EF4-FFF2-40B4-BE49-F238E27FC236}">
                <a16:creationId xmlns:a16="http://schemas.microsoft.com/office/drawing/2014/main" id="{4CBDFD27-4F08-4C5B-BF53-90CA1700C61E}"/>
              </a:ext>
            </a:extLst>
          </p:cNvPr>
          <p:cNvSpPr/>
          <p:nvPr/>
        </p:nvSpPr>
        <p:spPr>
          <a:xfrm>
            <a:off x="3374298" y="1837262"/>
            <a:ext cx="396009" cy="1618860"/>
          </a:xfrm>
          <a:prstGeom prst="rightBrace">
            <a:avLst>
              <a:gd name="adj1" fmla="val 54514"/>
              <a:gd name="adj2" fmla="val 48636"/>
            </a:avLst>
          </a:prstGeom>
          <a:ln w="76200">
            <a:headEnd type="none" w="med" len="med"/>
            <a:tailEnd type="none" w="med" len="med"/>
          </a:ln>
        </p:spPr>
        <p:style>
          <a:lnRef idx="3">
            <a:schemeClr val="dk1"/>
          </a:lnRef>
          <a:fillRef idx="0">
            <a:schemeClr val="dk1"/>
          </a:fillRef>
          <a:effectRef idx="2">
            <a:schemeClr val="dk1"/>
          </a:effectRef>
          <a:fontRef idx="minor">
            <a:schemeClr val="tx1"/>
          </a:fontRef>
        </p:style>
        <p:txBody>
          <a:bodyPr rtlCol="0" anchor="ctr"/>
          <a:lstStyle/>
          <a:p>
            <a:pPr algn="ctr"/>
            <a:endParaRPr lang="en-US"/>
          </a:p>
        </p:txBody>
      </p:sp>
      <p:sp>
        <p:nvSpPr>
          <p:cNvPr id="7" name="Right Brace 6">
            <a:extLst>
              <a:ext uri="{FF2B5EF4-FFF2-40B4-BE49-F238E27FC236}">
                <a16:creationId xmlns:a16="http://schemas.microsoft.com/office/drawing/2014/main" id="{499AF86C-E61A-432B-B3FA-C2CC26CDD2F2}"/>
              </a:ext>
            </a:extLst>
          </p:cNvPr>
          <p:cNvSpPr/>
          <p:nvPr/>
        </p:nvSpPr>
        <p:spPr>
          <a:xfrm flipH="1">
            <a:off x="9381198" y="1887011"/>
            <a:ext cx="210266" cy="1618860"/>
          </a:xfrm>
          <a:prstGeom prst="rightBrace">
            <a:avLst>
              <a:gd name="adj1" fmla="val 54514"/>
              <a:gd name="adj2" fmla="val 48636"/>
            </a:avLst>
          </a:prstGeom>
          <a:ln w="76200">
            <a:headEnd type="none" w="med" len="med"/>
            <a:tailEnd type="none" w="med" len="med"/>
          </a:ln>
        </p:spPr>
        <p:style>
          <a:lnRef idx="3">
            <a:schemeClr val="dk1"/>
          </a:lnRef>
          <a:fillRef idx="0">
            <a:schemeClr val="dk1"/>
          </a:fillRef>
          <a:effectRef idx="2">
            <a:schemeClr val="dk1"/>
          </a:effectRef>
          <a:fontRef idx="minor">
            <a:schemeClr val="tx1"/>
          </a:fontRef>
        </p:style>
        <p:txBody>
          <a:bodyPr rtlCol="0" anchor="ctr"/>
          <a:lstStyle/>
          <a:p>
            <a:pPr algn="ctr"/>
            <a:endParaRPr lang="en-US"/>
          </a:p>
        </p:txBody>
      </p:sp>
      <p:sp>
        <p:nvSpPr>
          <p:cNvPr id="8" name="Rectangle 3">
            <a:extLst>
              <a:ext uri="{FF2B5EF4-FFF2-40B4-BE49-F238E27FC236}">
                <a16:creationId xmlns:a16="http://schemas.microsoft.com/office/drawing/2014/main" id="{B28FB4DF-B89F-49BC-99FD-ED626424F1F2}"/>
              </a:ext>
            </a:extLst>
          </p:cNvPr>
          <p:cNvSpPr>
            <a:spLocks noChangeArrowheads="1"/>
          </p:cNvSpPr>
          <p:nvPr/>
        </p:nvSpPr>
        <p:spPr bwMode="auto">
          <a:xfrm>
            <a:off x="717796" y="3600804"/>
            <a:ext cx="10731871" cy="2800767"/>
          </a:xfrm>
          <a:prstGeom prst="rect">
            <a:avLst/>
          </a:prstGeom>
          <a:solidFill>
            <a:schemeClr val="bg1">
              <a:lumMod val="95000"/>
            </a:schemeClr>
          </a:solidFill>
          <a:ln>
            <a:noFill/>
          </a:ln>
          <a:effec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sz="1400" b="1" dirty="0">
                <a:solidFill>
                  <a:srgbClr val="C00000"/>
                </a:solidFill>
                <a:latin typeface="Cambria" panose="02040503050406030204" pitchFamily="18" charset="0"/>
                <a:ea typeface="Cambria" panose="02040503050406030204" pitchFamily="18" charset="0"/>
              </a:rPr>
              <a:t>Understanding the exponential data growth in Databank</a:t>
            </a:r>
            <a:endParaRPr kumimoji="0" lang="en-US" altLang="en-US" sz="1400" b="1"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400" b="1"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rPr>
              <a:t>Avg no. of Jira tickets in month</a:t>
            </a:r>
            <a:r>
              <a:rPr kumimoji="0" lang="en-US" altLang="en-US" sz="1400" b="0"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rPr>
              <a:t>: 7</a:t>
            </a:r>
            <a:endParaRPr kumimoji="0" lang="en-US" altLang="en-US" sz="1400" b="0" i="0" u="none" strike="noStrike" cap="none" normalizeH="0" baseline="0" dirty="0">
              <a:ln>
                <a:noFill/>
              </a:ln>
              <a:solidFill>
                <a:schemeClr val="tx1"/>
              </a:solidFill>
              <a:effectLst/>
              <a:latin typeface="Cambria" panose="02040503050406030204" pitchFamily="18" charset="0"/>
              <a:ea typeface="Cambria" panose="02040503050406030204" pitchFamily="18"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400" b="1"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rPr>
              <a:t>Avg size of production data getting downloaded per Jira </a:t>
            </a:r>
            <a:r>
              <a:rPr kumimoji="0" lang="en-US" altLang="en-US" sz="1400" b="0"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rPr>
              <a:t>: 100 GB ( ranging from 10 GBs to 500 GB )</a:t>
            </a:r>
            <a:endParaRPr kumimoji="0" lang="en-US" altLang="en-US" sz="1400" b="0" i="0" u="none" strike="noStrike" cap="none" normalizeH="0" baseline="0" dirty="0">
              <a:ln>
                <a:noFill/>
              </a:ln>
              <a:solidFill>
                <a:schemeClr val="tx1"/>
              </a:solidFill>
              <a:effectLst/>
              <a:latin typeface="Cambria" panose="02040503050406030204" pitchFamily="18" charset="0"/>
              <a:ea typeface="Cambria" panose="02040503050406030204" pitchFamily="18"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400" b="1"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rPr>
              <a:t>Data holding period</a:t>
            </a:r>
            <a:r>
              <a:rPr kumimoji="0" lang="en-US" altLang="en-US" sz="1400" b="0"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rPr>
              <a:t>: 30 days</a:t>
            </a:r>
            <a:endParaRPr kumimoji="0" lang="en-US" altLang="en-US" sz="1400" b="0" i="0" u="none" strike="noStrike" cap="none" normalizeH="0" baseline="0" dirty="0">
              <a:ln>
                <a:noFill/>
              </a:ln>
              <a:solidFill>
                <a:schemeClr val="tx1"/>
              </a:solidFill>
              <a:effectLst/>
              <a:latin typeface="Cambria" panose="02040503050406030204" pitchFamily="18" charset="0"/>
              <a:ea typeface="Cambria" panose="020405030504060302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tx1"/>
              </a:solidFill>
              <a:effectLst/>
              <a:latin typeface="Cambria" panose="02040503050406030204" pitchFamily="18" charset="0"/>
              <a:ea typeface="Cambria" panose="02040503050406030204" pitchFamily="18" charset="0"/>
            </a:endParaRPr>
          </a:p>
          <a:p>
            <a:r>
              <a:rPr lang="en-US" sz="1400" b="1" dirty="0">
                <a:solidFill>
                  <a:srgbClr val="C00000"/>
                </a:solidFill>
                <a:latin typeface="Cambria" panose="02040503050406030204" pitchFamily="18" charset="0"/>
                <a:ea typeface="Cambria" panose="02040503050406030204" pitchFamily="18" charset="0"/>
              </a:rPr>
              <a:t>Big Advantages of having ML and Databank on Same platform</a:t>
            </a:r>
            <a:endParaRPr kumimoji="0" lang="en-US" altLang="en-US" sz="1400" b="1"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endParaRPr>
          </a:p>
          <a:p>
            <a:pPr marL="285750" indent="-285750">
              <a:buFont typeface="Wingdings" panose="05000000000000000000" pitchFamily="2" charset="2"/>
              <a:buChar char="Ø"/>
            </a:pPr>
            <a:r>
              <a:rPr kumimoji="0" lang="en-US" altLang="en-US" sz="1400" b="1"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rPr>
              <a:t>Currently onl</a:t>
            </a:r>
            <a:r>
              <a:rPr lang="en-US" altLang="en-US" sz="1400" b="1" dirty="0">
                <a:solidFill>
                  <a:srgbClr val="000000"/>
                </a:solidFill>
                <a:latin typeface="Cambria" panose="02040503050406030204" pitchFamily="18" charset="0"/>
                <a:ea typeface="Cambria" panose="02040503050406030204" pitchFamily="18" charset="0"/>
                <a:cs typeface="Calibri" panose="020F0502020204030204" pitchFamily="34" charset="0"/>
              </a:rPr>
              <a:t>y limited and submitted </a:t>
            </a:r>
            <a:r>
              <a:rPr kumimoji="0" lang="en-US" altLang="en-US" sz="1400" b="1"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rPr>
              <a:t>Documents are used for predicting labels.</a:t>
            </a:r>
          </a:p>
          <a:p>
            <a:pPr marL="285750" indent="-285750">
              <a:buFont typeface="Wingdings" panose="05000000000000000000" pitchFamily="2" charset="2"/>
              <a:buChar char="Ø"/>
            </a:pPr>
            <a:r>
              <a:rPr lang="en-US" altLang="en-US" sz="1400" b="1" dirty="0">
                <a:solidFill>
                  <a:srgbClr val="000000"/>
                </a:solidFill>
                <a:latin typeface="Cambria" panose="02040503050406030204" pitchFamily="18" charset="0"/>
                <a:ea typeface="Cambria" panose="02040503050406030204" pitchFamily="18" charset="0"/>
                <a:cs typeface="Calibri" panose="020F0502020204030204" pitchFamily="34" charset="0"/>
              </a:rPr>
              <a:t>Entire track records of Document can add to multiple insights, flexibility of document usage and asynchronous document access for machine learning. No manual dependency on Data Bank team.</a:t>
            </a:r>
          </a:p>
          <a:p>
            <a:pPr marL="285750" indent="-285750">
              <a:buFont typeface="Wingdings" panose="05000000000000000000" pitchFamily="2" charset="2"/>
              <a:buChar char="Ø"/>
            </a:pPr>
            <a:r>
              <a:rPr kumimoji="0" lang="en-US" altLang="en-US" sz="1400" b="1"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rPr>
              <a:t>Readily available different versions of document</a:t>
            </a:r>
            <a:r>
              <a:rPr lang="en-US" altLang="en-US" sz="1400" b="1" dirty="0">
                <a:solidFill>
                  <a:srgbClr val="000000"/>
                </a:solidFill>
                <a:latin typeface="Cambria" panose="02040503050406030204" pitchFamily="18" charset="0"/>
                <a:ea typeface="Cambria" panose="02040503050406030204" pitchFamily="18" charset="0"/>
                <a:cs typeface="Calibri" panose="020F0502020204030204" pitchFamily="34" charset="0"/>
              </a:rPr>
              <a:t>s from Databank can be used for several purpose such as MDM, ML etc. whatever you may think off.</a:t>
            </a:r>
            <a:endParaRPr kumimoji="0" lang="en-US" altLang="en-US" sz="1400" b="0" i="0" u="none" strike="noStrike" cap="none" normalizeH="0" baseline="0" dirty="0">
              <a:ln>
                <a:noFill/>
              </a:ln>
              <a:solidFill>
                <a:schemeClr val="tx1"/>
              </a:solidFill>
              <a:effectLst/>
              <a:latin typeface="Cambria" panose="02040503050406030204" pitchFamily="18" charset="0"/>
              <a:ea typeface="Cambria" panose="020405030504060302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400" dirty="0">
              <a:latin typeface="Cambria" panose="02040503050406030204" pitchFamily="18" charset="0"/>
              <a:ea typeface="Cambria" panose="02040503050406030204" pitchFamily="18" charset="0"/>
            </a:endParaRPr>
          </a:p>
          <a:p>
            <a:r>
              <a:rPr lang="en-US" sz="1400" b="1" dirty="0">
                <a:solidFill>
                  <a:srgbClr val="C00000"/>
                </a:solidFill>
                <a:latin typeface="Cambria" panose="02040503050406030204" pitchFamily="18" charset="0"/>
                <a:ea typeface="Cambria" panose="02040503050406030204" pitchFamily="18" charset="0"/>
              </a:rPr>
              <a:t>Effective DevOps </a:t>
            </a:r>
            <a:r>
              <a:rPr lang="en-US" sz="1400" b="1" dirty="0">
                <a:solidFill>
                  <a:srgbClr val="C00000"/>
                </a:solidFill>
                <a:latin typeface="Cambria" panose="02040503050406030204" pitchFamily="18" charset="0"/>
                <a:ea typeface="Cambria" panose="02040503050406030204" pitchFamily="18" charset="0"/>
                <a:sym typeface="Wingdings" panose="05000000000000000000" pitchFamily="2" charset="2"/>
              </a:rPr>
              <a:t> Advanced </a:t>
            </a:r>
            <a:r>
              <a:rPr lang="en-US" sz="1400" b="1" dirty="0">
                <a:solidFill>
                  <a:srgbClr val="C00000"/>
                </a:solidFill>
                <a:latin typeface="Cambria" panose="02040503050406030204" pitchFamily="18" charset="0"/>
                <a:ea typeface="Cambria" panose="02040503050406030204" pitchFamily="18" charset="0"/>
              </a:rPr>
              <a:t>Security  </a:t>
            </a:r>
            <a:r>
              <a:rPr lang="en-US" sz="1400" b="1" dirty="0">
                <a:solidFill>
                  <a:srgbClr val="C00000"/>
                </a:solidFill>
                <a:latin typeface="Cambria" panose="02040503050406030204" pitchFamily="18" charset="0"/>
                <a:ea typeface="Cambria" panose="02040503050406030204" pitchFamily="18" charset="0"/>
                <a:sym typeface="Wingdings" panose="05000000000000000000" pitchFamily="2" charset="2"/>
              </a:rPr>
              <a:t> Calculated Expansion  Wider Scope</a:t>
            </a:r>
            <a:endParaRPr kumimoji="0" lang="en-US" altLang="en-US" sz="1400" b="1" i="0" u="none" strike="noStrike" cap="none" normalizeH="0" baseline="0" dirty="0">
              <a:ln>
                <a:noFill/>
              </a:ln>
              <a:solidFill>
                <a:srgbClr val="000000"/>
              </a:solidFill>
              <a:effectLst/>
              <a:latin typeface="Cambria" panose="02040503050406030204" pitchFamily="18" charset="0"/>
              <a:ea typeface="Cambria" panose="02040503050406030204" pitchFamily="18" charset="0"/>
              <a:cs typeface="Calibri" panose="020F0502020204030204" pitchFamily="34" charset="0"/>
            </a:endParaRPr>
          </a:p>
        </p:txBody>
      </p:sp>
      <p:pic>
        <p:nvPicPr>
          <p:cNvPr id="9" name="Picture 2" descr="AWS Solution Architect - Associate - xpert careers">
            <a:extLst>
              <a:ext uri="{FF2B5EF4-FFF2-40B4-BE49-F238E27FC236}">
                <a16:creationId xmlns:a16="http://schemas.microsoft.com/office/drawing/2014/main" id="{A0FE15C5-D7D0-4F0D-98ED-E848627A50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2052" y="1625587"/>
            <a:ext cx="2697782" cy="202073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Virtual Machine | Vecta Symbols">
            <a:extLst>
              <a:ext uri="{FF2B5EF4-FFF2-40B4-BE49-F238E27FC236}">
                <a16:creationId xmlns:a16="http://schemas.microsoft.com/office/drawing/2014/main" id="{BEA27771-9CB3-455D-B315-7A621191CB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434" y="1821658"/>
            <a:ext cx="673217" cy="67321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Virtual Machine | Vecta Symbols">
            <a:extLst>
              <a:ext uri="{FF2B5EF4-FFF2-40B4-BE49-F238E27FC236}">
                <a16:creationId xmlns:a16="http://schemas.microsoft.com/office/drawing/2014/main" id="{9B4D13E8-F570-40C3-ADFE-A032B97BC0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433" y="2677107"/>
            <a:ext cx="673217" cy="67321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Virtual Machine | Vecta Symbols">
            <a:extLst>
              <a:ext uri="{FF2B5EF4-FFF2-40B4-BE49-F238E27FC236}">
                <a16:creationId xmlns:a16="http://schemas.microsoft.com/office/drawing/2014/main" id="{15E4D8BF-985D-48CB-8728-ACDB99427A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1055" y="2203140"/>
            <a:ext cx="673217" cy="67321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Virtual Machine | Vecta Symbols">
            <a:extLst>
              <a:ext uri="{FF2B5EF4-FFF2-40B4-BE49-F238E27FC236}">
                <a16:creationId xmlns:a16="http://schemas.microsoft.com/office/drawing/2014/main" id="{C84D6FDA-AC6B-4B44-8E80-699E976C68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2676" y="1816280"/>
            <a:ext cx="673217" cy="67321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Virtual Machine | Vecta Symbols">
            <a:extLst>
              <a:ext uri="{FF2B5EF4-FFF2-40B4-BE49-F238E27FC236}">
                <a16:creationId xmlns:a16="http://schemas.microsoft.com/office/drawing/2014/main" id="{7D5FD568-1D0E-4637-B3B4-37C58262FD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2676" y="2656801"/>
            <a:ext cx="673217" cy="67321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FC02E02B-78D4-4A99-A8DC-9D4110AD2210}"/>
              </a:ext>
            </a:extLst>
          </p:cNvPr>
          <p:cNvPicPr>
            <a:picLocks noChangeAspect="1"/>
          </p:cNvPicPr>
          <p:nvPr/>
        </p:nvPicPr>
        <p:blipFill rotWithShape="1">
          <a:blip r:embed="rId4"/>
          <a:srcRect l="14507" t="26144" r="10137" b="22824"/>
          <a:stretch/>
        </p:blipFill>
        <p:spPr>
          <a:xfrm>
            <a:off x="6700780" y="1657000"/>
            <a:ext cx="2488604" cy="999801"/>
          </a:xfrm>
          <a:prstGeom prst="rect">
            <a:avLst/>
          </a:prstGeom>
        </p:spPr>
      </p:pic>
      <p:pic>
        <p:nvPicPr>
          <p:cNvPr id="16" name="Picture 8" descr="How to create an MYSQL Database on Amazon RDS? (Step-by-Step) - GeekyLane">
            <a:extLst>
              <a:ext uri="{FF2B5EF4-FFF2-40B4-BE49-F238E27FC236}">
                <a16:creationId xmlns:a16="http://schemas.microsoft.com/office/drawing/2014/main" id="{3158C75A-4519-4C8A-AD69-7B7FA6EB64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568" t="10260" r="3210" b="33881"/>
          <a:stretch/>
        </p:blipFill>
        <p:spPr bwMode="auto">
          <a:xfrm>
            <a:off x="6700780" y="2693762"/>
            <a:ext cx="2494864" cy="95255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Data Science Analytics Big Data Business Data Analysis PNG, Clipart,  Analytics, Automotive Tire, Big Data, Black">
            <a:extLst>
              <a:ext uri="{FF2B5EF4-FFF2-40B4-BE49-F238E27FC236}">
                <a16:creationId xmlns:a16="http://schemas.microsoft.com/office/drawing/2014/main" id="{4F5110B5-F1F4-46ED-8157-8A3B95FDD0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29170" y="1714773"/>
            <a:ext cx="895096" cy="89111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8A52C1AF-D7F7-47E0-AAFD-3B4EF9CBC32D}"/>
              </a:ext>
            </a:extLst>
          </p:cNvPr>
          <p:cNvSpPr txBox="1"/>
          <p:nvPr/>
        </p:nvSpPr>
        <p:spPr>
          <a:xfrm>
            <a:off x="868668" y="1560886"/>
            <a:ext cx="747320" cy="307777"/>
          </a:xfrm>
          <a:prstGeom prst="rect">
            <a:avLst/>
          </a:prstGeom>
          <a:noFill/>
        </p:spPr>
        <p:txBody>
          <a:bodyPr wrap="none" rtlCol="0">
            <a:spAutoFit/>
          </a:bodyPr>
          <a:lstStyle/>
          <a:p>
            <a:r>
              <a:rPr lang="en-US" sz="1400" b="1" dirty="0">
                <a:solidFill>
                  <a:schemeClr val="tx1">
                    <a:lumMod val="50000"/>
                  </a:schemeClr>
                </a:solidFill>
                <a:latin typeface="Cambria" panose="02040503050406030204" pitchFamily="18" charset="0"/>
                <a:ea typeface="Cambria" panose="02040503050406030204" pitchFamily="18" charset="0"/>
              </a:rPr>
              <a:t>MySQL</a:t>
            </a:r>
          </a:p>
        </p:txBody>
      </p:sp>
      <p:sp>
        <p:nvSpPr>
          <p:cNvPr id="19" name="TextBox 18">
            <a:extLst>
              <a:ext uri="{FF2B5EF4-FFF2-40B4-BE49-F238E27FC236}">
                <a16:creationId xmlns:a16="http://schemas.microsoft.com/office/drawing/2014/main" id="{0AFEF48D-40B3-4D52-9461-1AC79D65AA3B}"/>
              </a:ext>
            </a:extLst>
          </p:cNvPr>
          <p:cNvSpPr txBox="1"/>
          <p:nvPr/>
        </p:nvSpPr>
        <p:spPr>
          <a:xfrm>
            <a:off x="2418224" y="1543434"/>
            <a:ext cx="987771" cy="307777"/>
          </a:xfrm>
          <a:prstGeom prst="rect">
            <a:avLst/>
          </a:prstGeom>
          <a:noFill/>
        </p:spPr>
        <p:txBody>
          <a:bodyPr wrap="none" rtlCol="0">
            <a:spAutoFit/>
          </a:bodyPr>
          <a:lstStyle/>
          <a:p>
            <a:r>
              <a:rPr lang="en-US" sz="1400" b="1" dirty="0">
                <a:solidFill>
                  <a:schemeClr val="tx1">
                    <a:lumMod val="50000"/>
                  </a:schemeClr>
                </a:solidFill>
                <a:latin typeface="Cambria" panose="02040503050406030204" pitchFamily="18" charset="0"/>
                <a:ea typeface="Cambria" panose="02040503050406030204" pitchFamily="18" charset="0"/>
              </a:rPr>
              <a:t>MongoDB</a:t>
            </a:r>
          </a:p>
        </p:txBody>
      </p:sp>
      <p:sp>
        <p:nvSpPr>
          <p:cNvPr id="20" name="TextBox 19">
            <a:extLst>
              <a:ext uri="{FF2B5EF4-FFF2-40B4-BE49-F238E27FC236}">
                <a16:creationId xmlns:a16="http://schemas.microsoft.com/office/drawing/2014/main" id="{8DC44786-23A6-4EEC-A643-3600A7DC775B}"/>
              </a:ext>
            </a:extLst>
          </p:cNvPr>
          <p:cNvSpPr txBox="1"/>
          <p:nvPr/>
        </p:nvSpPr>
        <p:spPr>
          <a:xfrm>
            <a:off x="1688902" y="2917860"/>
            <a:ext cx="774571" cy="307777"/>
          </a:xfrm>
          <a:prstGeom prst="rect">
            <a:avLst/>
          </a:prstGeom>
          <a:noFill/>
        </p:spPr>
        <p:txBody>
          <a:bodyPr wrap="none" rtlCol="0">
            <a:spAutoFit/>
          </a:bodyPr>
          <a:lstStyle/>
          <a:p>
            <a:r>
              <a:rPr lang="en-US" sz="1400" b="1" dirty="0">
                <a:solidFill>
                  <a:schemeClr val="tx1">
                    <a:lumMod val="50000"/>
                  </a:schemeClr>
                </a:solidFill>
                <a:latin typeface="Cambria" panose="02040503050406030204" pitchFamily="18" charset="0"/>
                <a:ea typeface="Cambria" panose="02040503050406030204" pitchFamily="18" charset="0"/>
              </a:rPr>
              <a:t>Python</a:t>
            </a:r>
          </a:p>
        </p:txBody>
      </p:sp>
      <p:pic>
        <p:nvPicPr>
          <p:cNvPr id="21" name="Picture 12" descr="Cash Forecasting Data Visualisations CashAnalytics">
            <a:extLst>
              <a:ext uri="{FF2B5EF4-FFF2-40B4-BE49-F238E27FC236}">
                <a16:creationId xmlns:a16="http://schemas.microsoft.com/office/drawing/2014/main" id="{0F28477C-FE65-4BC6-91DB-3605BFCCD55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1060" r="70911" b="15608"/>
          <a:stretch/>
        </p:blipFill>
        <p:spPr bwMode="auto">
          <a:xfrm>
            <a:off x="9639251" y="2626505"/>
            <a:ext cx="936508" cy="104075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DC3EA993-1EAB-4888-901F-4C65611D65D5}"/>
              </a:ext>
            </a:extLst>
          </p:cNvPr>
          <p:cNvSpPr txBox="1"/>
          <p:nvPr/>
        </p:nvSpPr>
        <p:spPr>
          <a:xfrm>
            <a:off x="10515115" y="1748877"/>
            <a:ext cx="860813" cy="1938992"/>
          </a:xfrm>
          <a:prstGeom prst="rect">
            <a:avLst/>
          </a:prstGeom>
          <a:noFill/>
        </p:spPr>
        <p:txBody>
          <a:bodyPr wrap="none" rtlCol="0">
            <a:spAutoFit/>
          </a:bodyPr>
          <a:lstStyle/>
          <a:p>
            <a:r>
              <a:rPr lang="en-US" sz="1200" b="1" dirty="0">
                <a:solidFill>
                  <a:schemeClr val="tx1">
                    <a:lumMod val="50000"/>
                  </a:schemeClr>
                </a:solidFill>
                <a:latin typeface="Cambria" panose="02040503050406030204" pitchFamily="18" charset="0"/>
                <a:ea typeface="Cambria" panose="02040503050406030204" pitchFamily="18" charset="0"/>
              </a:rPr>
              <a:t>DATA</a:t>
            </a:r>
          </a:p>
          <a:p>
            <a:r>
              <a:rPr lang="en-US" sz="1200" b="1" dirty="0">
                <a:solidFill>
                  <a:schemeClr val="tx1">
                    <a:lumMod val="50000"/>
                  </a:schemeClr>
                </a:solidFill>
                <a:latin typeface="Cambria" panose="02040503050406030204" pitchFamily="18" charset="0"/>
                <a:ea typeface="Cambria" panose="02040503050406030204" pitchFamily="18" charset="0"/>
              </a:rPr>
              <a:t>SCIENCE</a:t>
            </a:r>
          </a:p>
          <a:p>
            <a:endParaRPr lang="en-US" sz="1200" b="1" dirty="0">
              <a:solidFill>
                <a:schemeClr val="tx1">
                  <a:lumMod val="50000"/>
                </a:schemeClr>
              </a:solidFill>
              <a:latin typeface="Cambria" panose="02040503050406030204" pitchFamily="18" charset="0"/>
              <a:ea typeface="Cambria" panose="02040503050406030204" pitchFamily="18" charset="0"/>
            </a:endParaRPr>
          </a:p>
          <a:p>
            <a:endParaRPr lang="en-US" sz="1200" b="1" dirty="0">
              <a:solidFill>
                <a:schemeClr val="tx1">
                  <a:lumMod val="50000"/>
                </a:schemeClr>
              </a:solidFill>
              <a:latin typeface="Cambria" panose="02040503050406030204" pitchFamily="18" charset="0"/>
              <a:ea typeface="Cambria" panose="02040503050406030204" pitchFamily="18" charset="0"/>
            </a:endParaRPr>
          </a:p>
          <a:p>
            <a:endParaRPr lang="en-US" sz="1200" b="1" dirty="0">
              <a:solidFill>
                <a:schemeClr val="tx1">
                  <a:lumMod val="50000"/>
                </a:schemeClr>
              </a:solidFill>
              <a:latin typeface="Cambria" panose="02040503050406030204" pitchFamily="18" charset="0"/>
              <a:ea typeface="Cambria" panose="02040503050406030204" pitchFamily="18" charset="0"/>
            </a:endParaRPr>
          </a:p>
          <a:p>
            <a:endParaRPr lang="en-US" sz="1200" b="1" dirty="0">
              <a:solidFill>
                <a:schemeClr val="tx1">
                  <a:lumMod val="50000"/>
                </a:schemeClr>
              </a:solidFill>
              <a:latin typeface="Cambria" panose="02040503050406030204" pitchFamily="18" charset="0"/>
              <a:ea typeface="Cambria" panose="02040503050406030204" pitchFamily="18" charset="0"/>
            </a:endParaRPr>
          </a:p>
          <a:p>
            <a:endParaRPr lang="en-US" sz="1200" b="1" dirty="0">
              <a:solidFill>
                <a:schemeClr val="tx1">
                  <a:lumMod val="50000"/>
                </a:schemeClr>
              </a:solidFill>
              <a:latin typeface="Cambria" panose="02040503050406030204" pitchFamily="18" charset="0"/>
              <a:ea typeface="Cambria" panose="02040503050406030204" pitchFamily="18" charset="0"/>
            </a:endParaRPr>
          </a:p>
          <a:p>
            <a:r>
              <a:rPr lang="en-US" sz="1200" b="1" dirty="0">
                <a:solidFill>
                  <a:schemeClr val="tx1">
                    <a:lumMod val="50000"/>
                  </a:schemeClr>
                </a:solidFill>
                <a:latin typeface="Cambria" panose="02040503050406030204" pitchFamily="18" charset="0"/>
                <a:ea typeface="Cambria" panose="02040503050406030204" pitchFamily="18" charset="0"/>
              </a:rPr>
              <a:t>REPORTS</a:t>
            </a:r>
          </a:p>
          <a:p>
            <a:r>
              <a:rPr lang="en-US" sz="1200" b="1" dirty="0">
                <a:solidFill>
                  <a:schemeClr val="tx1">
                    <a:lumMod val="50000"/>
                  </a:schemeClr>
                </a:solidFill>
                <a:latin typeface="Cambria" panose="02040503050406030204" pitchFamily="18" charset="0"/>
                <a:ea typeface="Cambria" panose="02040503050406030204" pitchFamily="18" charset="0"/>
              </a:rPr>
              <a:t>&amp;</a:t>
            </a:r>
          </a:p>
          <a:p>
            <a:r>
              <a:rPr lang="en-US" sz="1200" b="1" dirty="0">
                <a:solidFill>
                  <a:schemeClr val="tx1">
                    <a:lumMod val="50000"/>
                  </a:schemeClr>
                </a:solidFill>
                <a:latin typeface="Cambria" panose="02040503050406030204" pitchFamily="18" charset="0"/>
                <a:ea typeface="Cambria" panose="02040503050406030204" pitchFamily="18" charset="0"/>
              </a:rPr>
              <a:t>INSIGHTS</a:t>
            </a:r>
          </a:p>
        </p:txBody>
      </p:sp>
      <p:sp>
        <p:nvSpPr>
          <p:cNvPr id="24" name="Rectangle 23">
            <a:extLst>
              <a:ext uri="{FF2B5EF4-FFF2-40B4-BE49-F238E27FC236}">
                <a16:creationId xmlns:a16="http://schemas.microsoft.com/office/drawing/2014/main" id="{572885A2-AFBA-4B8D-9B67-1B9A22474341}"/>
              </a:ext>
            </a:extLst>
          </p:cNvPr>
          <p:cNvSpPr/>
          <p:nvPr/>
        </p:nvSpPr>
        <p:spPr>
          <a:xfrm>
            <a:off x="3962052" y="1625587"/>
            <a:ext cx="5227332" cy="1975217"/>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414005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D3EE25-05B3-4D48-A7B5-DF9DA32153C0}"/>
              </a:ext>
            </a:extLst>
          </p:cNvPr>
          <p:cNvSpPr>
            <a:spLocks noGrp="1"/>
          </p:cNvSpPr>
          <p:nvPr>
            <p:ph type="sldNum" sz="quarter" idx="12"/>
          </p:nvPr>
        </p:nvSpPr>
        <p:spPr/>
        <p:txBody>
          <a:bodyPr/>
          <a:lstStyle/>
          <a:p>
            <a:fld id="{8A6D9EF2-1078-4CF1-AE32-B8E5CFC7CD9F}" type="slidenum">
              <a:rPr lang="en-US" smtClean="0"/>
              <a:pPr/>
              <a:t>12</a:t>
            </a:fld>
            <a:endParaRPr lang="en-US" dirty="0"/>
          </a:p>
        </p:txBody>
      </p:sp>
      <p:sp>
        <p:nvSpPr>
          <p:cNvPr id="5" name="Title 4">
            <a:extLst>
              <a:ext uri="{FF2B5EF4-FFF2-40B4-BE49-F238E27FC236}">
                <a16:creationId xmlns:a16="http://schemas.microsoft.com/office/drawing/2014/main" id="{25B277E9-5748-449B-94AB-FB9426EDB5AA}"/>
              </a:ext>
            </a:extLst>
          </p:cNvPr>
          <p:cNvSpPr>
            <a:spLocks noGrp="1"/>
          </p:cNvSpPr>
          <p:nvPr>
            <p:ph type="title"/>
          </p:nvPr>
        </p:nvSpPr>
        <p:spPr>
          <a:xfrm>
            <a:off x="673995" y="696531"/>
            <a:ext cx="10844009" cy="2852737"/>
          </a:xfrm>
        </p:spPr>
        <p:txBody>
          <a:bodyPr/>
          <a:lstStyle/>
          <a:p>
            <a:r>
              <a:rPr lang="en-US" b="1" dirty="0"/>
              <a:t>Think Automation way</a:t>
            </a:r>
            <a:endParaRPr lang="en-IN" b="1" dirty="0"/>
          </a:p>
        </p:txBody>
      </p:sp>
    </p:spTree>
    <p:extLst>
      <p:ext uri="{BB962C8B-B14F-4D97-AF65-F5344CB8AC3E}">
        <p14:creationId xmlns:p14="http://schemas.microsoft.com/office/powerpoint/2010/main" val="1088952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6865424-9B5A-4E90-89E5-D58B98467A11}"/>
              </a:ext>
            </a:extLst>
          </p:cNvPr>
          <p:cNvSpPr>
            <a:spLocks noGrp="1"/>
          </p:cNvSpPr>
          <p:nvPr>
            <p:ph type="title"/>
          </p:nvPr>
        </p:nvSpPr>
        <p:spPr/>
        <p:txBody>
          <a:bodyPr/>
          <a:lstStyle/>
          <a:p>
            <a:r>
              <a:rPr lang="en-US" dirty="0"/>
              <a:t>Databank Mind Map – Step 1 Inventory</a:t>
            </a:r>
          </a:p>
        </p:txBody>
      </p:sp>
      <p:sp>
        <p:nvSpPr>
          <p:cNvPr id="2" name="Slide Number Placeholder 1">
            <a:extLst>
              <a:ext uri="{FF2B5EF4-FFF2-40B4-BE49-F238E27FC236}">
                <a16:creationId xmlns:a16="http://schemas.microsoft.com/office/drawing/2014/main" id="{8786F797-8D92-4E5D-B265-8E66962DC5D0}"/>
              </a:ext>
            </a:extLst>
          </p:cNvPr>
          <p:cNvSpPr>
            <a:spLocks noGrp="1"/>
          </p:cNvSpPr>
          <p:nvPr>
            <p:ph type="sldNum" sz="quarter" idx="12"/>
          </p:nvPr>
        </p:nvSpPr>
        <p:spPr/>
        <p:txBody>
          <a:bodyPr/>
          <a:lstStyle/>
          <a:p>
            <a:fld id="{8A6D9EF2-1078-4CF1-AE32-B8E5CFC7CD9F}" type="slidenum">
              <a:rPr lang="en-US" smtClean="0"/>
              <a:pPr/>
              <a:t>13</a:t>
            </a:fld>
            <a:endParaRPr lang="en-US" dirty="0"/>
          </a:p>
        </p:txBody>
      </p:sp>
      <p:sp>
        <p:nvSpPr>
          <p:cNvPr id="8" name="Thought Bubble: Cloud 7">
            <a:extLst>
              <a:ext uri="{FF2B5EF4-FFF2-40B4-BE49-F238E27FC236}">
                <a16:creationId xmlns:a16="http://schemas.microsoft.com/office/drawing/2014/main" id="{D5F14871-C013-402F-A1AF-F075DEDC6E3C}"/>
              </a:ext>
            </a:extLst>
          </p:cNvPr>
          <p:cNvSpPr/>
          <p:nvPr/>
        </p:nvSpPr>
        <p:spPr>
          <a:xfrm>
            <a:off x="1048837" y="1402647"/>
            <a:ext cx="1504838" cy="693018"/>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at do we want?</a:t>
            </a:r>
          </a:p>
        </p:txBody>
      </p:sp>
      <p:sp>
        <p:nvSpPr>
          <p:cNvPr id="13" name="Rectangle: Rounded Corners 12">
            <a:extLst>
              <a:ext uri="{FF2B5EF4-FFF2-40B4-BE49-F238E27FC236}">
                <a16:creationId xmlns:a16="http://schemas.microsoft.com/office/drawing/2014/main" id="{D6A077CA-87D8-4D7B-99F0-660EAD217603}"/>
              </a:ext>
            </a:extLst>
          </p:cNvPr>
          <p:cNvSpPr/>
          <p:nvPr/>
        </p:nvSpPr>
        <p:spPr>
          <a:xfrm>
            <a:off x="512259" y="2359773"/>
            <a:ext cx="2138455" cy="712818"/>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Data Science team needs some documents </a:t>
            </a:r>
          </a:p>
        </p:txBody>
      </p:sp>
      <p:sp>
        <p:nvSpPr>
          <p:cNvPr id="14" name="Rectangle: Rounded Corners 13">
            <a:extLst>
              <a:ext uri="{FF2B5EF4-FFF2-40B4-BE49-F238E27FC236}">
                <a16:creationId xmlns:a16="http://schemas.microsoft.com/office/drawing/2014/main" id="{411F09BB-B0E0-4501-A1AA-CDBA7855F90E}"/>
              </a:ext>
            </a:extLst>
          </p:cNvPr>
          <p:cNvSpPr/>
          <p:nvPr/>
        </p:nvSpPr>
        <p:spPr>
          <a:xfrm>
            <a:off x="3363531" y="2359772"/>
            <a:ext cx="2138455" cy="712818"/>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Documents must be downloaded from Prod</a:t>
            </a:r>
          </a:p>
        </p:txBody>
      </p:sp>
      <p:sp>
        <p:nvSpPr>
          <p:cNvPr id="15" name="Rectangle: Rounded Corners 14">
            <a:extLst>
              <a:ext uri="{FF2B5EF4-FFF2-40B4-BE49-F238E27FC236}">
                <a16:creationId xmlns:a16="http://schemas.microsoft.com/office/drawing/2014/main" id="{BB18A643-5648-434B-9D2B-9E62F7FC4D2E}"/>
              </a:ext>
            </a:extLst>
          </p:cNvPr>
          <p:cNvSpPr/>
          <p:nvPr/>
        </p:nvSpPr>
        <p:spPr>
          <a:xfrm>
            <a:off x="6096000" y="2359772"/>
            <a:ext cx="2138455" cy="712818"/>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I have Jira request to define qty, range</a:t>
            </a:r>
          </a:p>
          <a:p>
            <a:pPr algn="ctr"/>
            <a:r>
              <a:rPr lang="en-US" sz="1400" dirty="0"/>
              <a:t>and Document Type</a:t>
            </a:r>
          </a:p>
        </p:txBody>
      </p:sp>
      <p:sp>
        <p:nvSpPr>
          <p:cNvPr id="16" name="Thought Bubble: Cloud 15">
            <a:extLst>
              <a:ext uri="{FF2B5EF4-FFF2-40B4-BE49-F238E27FC236}">
                <a16:creationId xmlns:a16="http://schemas.microsoft.com/office/drawing/2014/main" id="{566A84E3-63A9-4BC6-9EDB-5FF1D10300E3}"/>
              </a:ext>
            </a:extLst>
          </p:cNvPr>
          <p:cNvSpPr/>
          <p:nvPr/>
        </p:nvSpPr>
        <p:spPr>
          <a:xfrm>
            <a:off x="3979146" y="1420922"/>
            <a:ext cx="1504838" cy="693018"/>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at to do then ?</a:t>
            </a:r>
          </a:p>
        </p:txBody>
      </p:sp>
      <p:sp>
        <p:nvSpPr>
          <p:cNvPr id="17" name="Thought Bubble: Cloud 16">
            <a:extLst>
              <a:ext uri="{FF2B5EF4-FFF2-40B4-BE49-F238E27FC236}">
                <a16:creationId xmlns:a16="http://schemas.microsoft.com/office/drawing/2014/main" id="{60D2752C-6D93-4724-B762-EAF0087AFE63}"/>
              </a:ext>
            </a:extLst>
          </p:cNvPr>
          <p:cNvSpPr/>
          <p:nvPr/>
        </p:nvSpPr>
        <p:spPr>
          <a:xfrm>
            <a:off x="6743087" y="1402647"/>
            <a:ext cx="1504838" cy="693018"/>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at do I have ?</a:t>
            </a:r>
          </a:p>
        </p:txBody>
      </p:sp>
      <p:sp>
        <p:nvSpPr>
          <p:cNvPr id="18" name="Rectangle: Rounded Corners 17">
            <a:extLst>
              <a:ext uri="{FF2B5EF4-FFF2-40B4-BE49-F238E27FC236}">
                <a16:creationId xmlns:a16="http://schemas.microsoft.com/office/drawing/2014/main" id="{8F3C55B4-DBAF-402C-AA4C-7B9516B3B77D}"/>
              </a:ext>
            </a:extLst>
          </p:cNvPr>
          <p:cNvSpPr/>
          <p:nvPr/>
        </p:nvSpPr>
        <p:spPr>
          <a:xfrm>
            <a:off x="9006526" y="2364041"/>
            <a:ext cx="2388463" cy="712818"/>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Download and keep the data at once, and upload only what's needed</a:t>
            </a:r>
          </a:p>
        </p:txBody>
      </p:sp>
      <p:sp>
        <p:nvSpPr>
          <p:cNvPr id="19" name="Thought Bubble: Cloud 18">
            <a:extLst>
              <a:ext uri="{FF2B5EF4-FFF2-40B4-BE49-F238E27FC236}">
                <a16:creationId xmlns:a16="http://schemas.microsoft.com/office/drawing/2014/main" id="{5EBC1CDC-DAF5-4A18-8C7B-1CFC330A0C29}"/>
              </a:ext>
            </a:extLst>
          </p:cNvPr>
          <p:cNvSpPr/>
          <p:nvPr/>
        </p:nvSpPr>
        <p:spPr>
          <a:xfrm>
            <a:off x="9653612" y="1208252"/>
            <a:ext cx="1859873" cy="891682"/>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But I need only subset to label</a:t>
            </a:r>
          </a:p>
        </p:txBody>
      </p:sp>
      <p:sp>
        <p:nvSpPr>
          <p:cNvPr id="20" name="Rectangle: Rounded Corners 19">
            <a:extLst>
              <a:ext uri="{FF2B5EF4-FFF2-40B4-BE49-F238E27FC236}">
                <a16:creationId xmlns:a16="http://schemas.microsoft.com/office/drawing/2014/main" id="{03F79DE5-7230-4D85-926F-502FBBAD60A8}"/>
              </a:ext>
            </a:extLst>
          </p:cNvPr>
          <p:cNvSpPr/>
          <p:nvPr/>
        </p:nvSpPr>
        <p:spPr>
          <a:xfrm>
            <a:off x="8709666" y="4292517"/>
            <a:ext cx="2970075" cy="712818"/>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Download data, preprocess it , keep it classified if required and store in Databank Inventory</a:t>
            </a:r>
          </a:p>
        </p:txBody>
      </p:sp>
      <p:sp>
        <p:nvSpPr>
          <p:cNvPr id="21" name="Thought Bubble: Cloud 20">
            <a:extLst>
              <a:ext uri="{FF2B5EF4-FFF2-40B4-BE49-F238E27FC236}">
                <a16:creationId xmlns:a16="http://schemas.microsoft.com/office/drawing/2014/main" id="{BE1DF3A5-B035-42F2-8AB7-2250D3E12E66}"/>
              </a:ext>
            </a:extLst>
          </p:cNvPr>
          <p:cNvSpPr/>
          <p:nvPr/>
        </p:nvSpPr>
        <p:spPr>
          <a:xfrm>
            <a:off x="9524522" y="5253911"/>
            <a:ext cx="1859873" cy="891682"/>
          </a:xfrm>
          <a:prstGeom prst="cloudCallout">
            <a:avLst>
              <a:gd name="adj1" fmla="val -48913"/>
              <a:gd name="adj2" fmla="val -668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at's the process ?</a:t>
            </a:r>
          </a:p>
        </p:txBody>
      </p:sp>
      <p:sp>
        <p:nvSpPr>
          <p:cNvPr id="22" name="Rectangle: Rounded Corners 21">
            <a:extLst>
              <a:ext uri="{FF2B5EF4-FFF2-40B4-BE49-F238E27FC236}">
                <a16:creationId xmlns:a16="http://schemas.microsoft.com/office/drawing/2014/main" id="{AD11FDE0-8452-4354-8AB7-FAE4FEDC9E03}"/>
              </a:ext>
            </a:extLst>
          </p:cNvPr>
          <p:cNvSpPr/>
          <p:nvPr/>
        </p:nvSpPr>
        <p:spPr>
          <a:xfrm>
            <a:off x="4472359" y="4208961"/>
            <a:ext cx="2970075" cy="891682"/>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No worries, the data bank pipeline will bucketize the documents and keep documents separately type wise</a:t>
            </a:r>
          </a:p>
        </p:txBody>
      </p:sp>
      <p:sp>
        <p:nvSpPr>
          <p:cNvPr id="23" name="Thought Bubble: Cloud 22">
            <a:extLst>
              <a:ext uri="{FF2B5EF4-FFF2-40B4-BE49-F238E27FC236}">
                <a16:creationId xmlns:a16="http://schemas.microsoft.com/office/drawing/2014/main" id="{4139C95D-9DDA-4465-A624-3EA58E3CCDB1}"/>
              </a:ext>
            </a:extLst>
          </p:cNvPr>
          <p:cNvSpPr/>
          <p:nvPr/>
        </p:nvSpPr>
        <p:spPr>
          <a:xfrm>
            <a:off x="5914796" y="5334064"/>
            <a:ext cx="2138455" cy="1144213"/>
          </a:xfrm>
          <a:prstGeom prst="cloudCallout">
            <a:avLst>
              <a:gd name="adj1" fmla="val -48913"/>
              <a:gd name="adj2" fmla="val -668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But if I have multiple doctype in same Jira</a:t>
            </a:r>
          </a:p>
        </p:txBody>
      </p:sp>
      <p:sp>
        <p:nvSpPr>
          <p:cNvPr id="24" name="Rectangle: Rounded Corners 23">
            <a:extLst>
              <a:ext uri="{FF2B5EF4-FFF2-40B4-BE49-F238E27FC236}">
                <a16:creationId xmlns:a16="http://schemas.microsoft.com/office/drawing/2014/main" id="{7856DA8F-ADE3-4F4F-A75D-45CD879AD246}"/>
              </a:ext>
            </a:extLst>
          </p:cNvPr>
          <p:cNvSpPr/>
          <p:nvPr/>
        </p:nvSpPr>
        <p:spPr>
          <a:xfrm>
            <a:off x="860267" y="4221020"/>
            <a:ext cx="2970075" cy="891682"/>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Relax and sit back and wait for next Jira request to </a:t>
            </a:r>
            <a:r>
              <a:rPr lang="en-US" sz="1400" i="1" dirty="0"/>
              <a:t>upload the document to AIQ, process it and then transfer to Area51</a:t>
            </a:r>
          </a:p>
        </p:txBody>
      </p:sp>
      <p:sp>
        <p:nvSpPr>
          <p:cNvPr id="25" name="Thought Bubble: Cloud 24">
            <a:extLst>
              <a:ext uri="{FF2B5EF4-FFF2-40B4-BE49-F238E27FC236}">
                <a16:creationId xmlns:a16="http://schemas.microsoft.com/office/drawing/2014/main" id="{80A4E897-40BF-400B-9419-3FC0866D318B}"/>
              </a:ext>
            </a:extLst>
          </p:cNvPr>
          <p:cNvSpPr/>
          <p:nvPr/>
        </p:nvSpPr>
        <p:spPr>
          <a:xfrm>
            <a:off x="2302704" y="5346124"/>
            <a:ext cx="1852847" cy="983766"/>
          </a:xfrm>
          <a:prstGeom prst="cloudCallout">
            <a:avLst>
              <a:gd name="adj1" fmla="val -48913"/>
              <a:gd name="adj2" fmla="val -668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Now what next ?</a:t>
            </a:r>
          </a:p>
        </p:txBody>
      </p:sp>
      <p:cxnSp>
        <p:nvCxnSpPr>
          <p:cNvPr id="28" name="Straight Arrow Connector 27">
            <a:extLst>
              <a:ext uri="{FF2B5EF4-FFF2-40B4-BE49-F238E27FC236}">
                <a16:creationId xmlns:a16="http://schemas.microsoft.com/office/drawing/2014/main" id="{7D75EC0F-6739-4188-A9AD-DFCB566CA820}"/>
              </a:ext>
            </a:extLst>
          </p:cNvPr>
          <p:cNvCxnSpPr>
            <a:stCxn id="13" idx="3"/>
            <a:endCxn id="14" idx="1"/>
          </p:cNvCxnSpPr>
          <p:nvPr/>
        </p:nvCxnSpPr>
        <p:spPr>
          <a:xfrm flipV="1">
            <a:off x="2650714" y="2716181"/>
            <a:ext cx="712817" cy="1"/>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0" name="Straight Arrow Connector 29">
            <a:extLst>
              <a:ext uri="{FF2B5EF4-FFF2-40B4-BE49-F238E27FC236}">
                <a16:creationId xmlns:a16="http://schemas.microsoft.com/office/drawing/2014/main" id="{87CCFEB7-3AD2-4370-9883-745CB7B27DA3}"/>
              </a:ext>
            </a:extLst>
          </p:cNvPr>
          <p:cNvCxnSpPr>
            <a:stCxn id="14" idx="3"/>
            <a:endCxn id="15" idx="1"/>
          </p:cNvCxnSpPr>
          <p:nvPr/>
        </p:nvCxnSpPr>
        <p:spPr>
          <a:xfrm>
            <a:off x="5501986" y="2716181"/>
            <a:ext cx="594014" cy="0"/>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2" name="Straight Arrow Connector 31">
            <a:extLst>
              <a:ext uri="{FF2B5EF4-FFF2-40B4-BE49-F238E27FC236}">
                <a16:creationId xmlns:a16="http://schemas.microsoft.com/office/drawing/2014/main" id="{863F5A8F-F8BB-4909-AB58-852D98DB67CF}"/>
              </a:ext>
            </a:extLst>
          </p:cNvPr>
          <p:cNvCxnSpPr>
            <a:stCxn id="15" idx="3"/>
            <a:endCxn id="18" idx="1"/>
          </p:cNvCxnSpPr>
          <p:nvPr/>
        </p:nvCxnSpPr>
        <p:spPr>
          <a:xfrm>
            <a:off x="8234455" y="2716181"/>
            <a:ext cx="772071" cy="4269"/>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4" name="Straight Arrow Connector 33">
            <a:extLst>
              <a:ext uri="{FF2B5EF4-FFF2-40B4-BE49-F238E27FC236}">
                <a16:creationId xmlns:a16="http://schemas.microsoft.com/office/drawing/2014/main" id="{84B92B0A-7BE8-4D41-8BE3-B4DB8B8385DA}"/>
              </a:ext>
            </a:extLst>
          </p:cNvPr>
          <p:cNvCxnSpPr>
            <a:stCxn id="18" idx="2"/>
            <a:endCxn id="20" idx="0"/>
          </p:cNvCxnSpPr>
          <p:nvPr/>
        </p:nvCxnSpPr>
        <p:spPr>
          <a:xfrm flipH="1">
            <a:off x="10194704" y="3076859"/>
            <a:ext cx="6054" cy="1215658"/>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9" name="Straight Arrow Connector 38">
            <a:extLst>
              <a:ext uri="{FF2B5EF4-FFF2-40B4-BE49-F238E27FC236}">
                <a16:creationId xmlns:a16="http://schemas.microsoft.com/office/drawing/2014/main" id="{A3E066FF-BB01-4EEF-8DA6-79341E30385E}"/>
              </a:ext>
            </a:extLst>
          </p:cNvPr>
          <p:cNvCxnSpPr>
            <a:stCxn id="20" idx="1"/>
            <a:endCxn id="22" idx="3"/>
          </p:cNvCxnSpPr>
          <p:nvPr/>
        </p:nvCxnSpPr>
        <p:spPr>
          <a:xfrm flipH="1">
            <a:off x="7442434" y="4648926"/>
            <a:ext cx="1267232" cy="5876"/>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41" name="Straight Arrow Connector 40">
            <a:extLst>
              <a:ext uri="{FF2B5EF4-FFF2-40B4-BE49-F238E27FC236}">
                <a16:creationId xmlns:a16="http://schemas.microsoft.com/office/drawing/2014/main" id="{E1C18EB0-2363-4FBA-84AD-AA384C378D10}"/>
              </a:ext>
            </a:extLst>
          </p:cNvPr>
          <p:cNvCxnSpPr>
            <a:cxnSpLocks/>
            <a:stCxn id="22" idx="1"/>
            <a:endCxn id="24" idx="3"/>
          </p:cNvCxnSpPr>
          <p:nvPr/>
        </p:nvCxnSpPr>
        <p:spPr>
          <a:xfrm flipH="1">
            <a:off x="3830342" y="4654802"/>
            <a:ext cx="642017" cy="12059"/>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88721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6865424-9B5A-4E90-89E5-D58B98467A11}"/>
              </a:ext>
            </a:extLst>
          </p:cNvPr>
          <p:cNvSpPr>
            <a:spLocks noGrp="1"/>
          </p:cNvSpPr>
          <p:nvPr>
            <p:ph type="title"/>
          </p:nvPr>
        </p:nvSpPr>
        <p:spPr/>
        <p:txBody>
          <a:bodyPr/>
          <a:lstStyle/>
          <a:p>
            <a:r>
              <a:rPr lang="en-US" dirty="0"/>
              <a:t>Databank Mind Map – Step 2 ADE</a:t>
            </a:r>
          </a:p>
        </p:txBody>
      </p:sp>
      <p:sp>
        <p:nvSpPr>
          <p:cNvPr id="2" name="Slide Number Placeholder 1">
            <a:extLst>
              <a:ext uri="{FF2B5EF4-FFF2-40B4-BE49-F238E27FC236}">
                <a16:creationId xmlns:a16="http://schemas.microsoft.com/office/drawing/2014/main" id="{8786F797-8D92-4E5D-B265-8E66962DC5D0}"/>
              </a:ext>
            </a:extLst>
          </p:cNvPr>
          <p:cNvSpPr>
            <a:spLocks noGrp="1"/>
          </p:cNvSpPr>
          <p:nvPr>
            <p:ph type="sldNum" sz="quarter" idx="12"/>
          </p:nvPr>
        </p:nvSpPr>
        <p:spPr/>
        <p:txBody>
          <a:bodyPr/>
          <a:lstStyle/>
          <a:p>
            <a:fld id="{8A6D9EF2-1078-4CF1-AE32-B8E5CFC7CD9F}" type="slidenum">
              <a:rPr lang="en-US" smtClean="0"/>
              <a:pPr/>
              <a:t>14</a:t>
            </a:fld>
            <a:endParaRPr lang="en-US" dirty="0"/>
          </a:p>
        </p:txBody>
      </p:sp>
      <p:sp>
        <p:nvSpPr>
          <p:cNvPr id="8" name="Thought Bubble: Cloud 7">
            <a:extLst>
              <a:ext uri="{FF2B5EF4-FFF2-40B4-BE49-F238E27FC236}">
                <a16:creationId xmlns:a16="http://schemas.microsoft.com/office/drawing/2014/main" id="{D5F14871-C013-402F-A1AF-F075DEDC6E3C}"/>
              </a:ext>
            </a:extLst>
          </p:cNvPr>
          <p:cNvSpPr/>
          <p:nvPr/>
        </p:nvSpPr>
        <p:spPr>
          <a:xfrm>
            <a:off x="1048837" y="1402647"/>
            <a:ext cx="1504838" cy="693018"/>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at do we want?</a:t>
            </a:r>
          </a:p>
        </p:txBody>
      </p:sp>
      <p:sp>
        <p:nvSpPr>
          <p:cNvPr id="13" name="Rectangle: Rounded Corners 12">
            <a:extLst>
              <a:ext uri="{FF2B5EF4-FFF2-40B4-BE49-F238E27FC236}">
                <a16:creationId xmlns:a16="http://schemas.microsoft.com/office/drawing/2014/main" id="{D6A077CA-87D8-4D7B-99F0-660EAD217603}"/>
              </a:ext>
            </a:extLst>
          </p:cNvPr>
          <p:cNvSpPr/>
          <p:nvPr/>
        </p:nvSpPr>
        <p:spPr>
          <a:xfrm>
            <a:off x="512259" y="2359773"/>
            <a:ext cx="2138455" cy="712818"/>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1400" dirty="0"/>
              <a:t>Data Science team wants labelled documents for  ADE</a:t>
            </a:r>
          </a:p>
        </p:txBody>
      </p:sp>
      <p:sp>
        <p:nvSpPr>
          <p:cNvPr id="14" name="Rectangle: Rounded Corners 13">
            <a:extLst>
              <a:ext uri="{FF2B5EF4-FFF2-40B4-BE49-F238E27FC236}">
                <a16:creationId xmlns:a16="http://schemas.microsoft.com/office/drawing/2014/main" id="{411F09BB-B0E0-4501-A1AA-CDBA7855F90E}"/>
              </a:ext>
            </a:extLst>
          </p:cNvPr>
          <p:cNvSpPr/>
          <p:nvPr/>
        </p:nvSpPr>
        <p:spPr>
          <a:xfrm>
            <a:off x="3363531" y="2359772"/>
            <a:ext cx="2138455" cy="712818"/>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1400" dirty="0"/>
              <a:t>Check if we have already downloaded the set</a:t>
            </a:r>
          </a:p>
        </p:txBody>
      </p:sp>
      <p:sp>
        <p:nvSpPr>
          <p:cNvPr id="15" name="Rectangle: Rounded Corners 14">
            <a:extLst>
              <a:ext uri="{FF2B5EF4-FFF2-40B4-BE49-F238E27FC236}">
                <a16:creationId xmlns:a16="http://schemas.microsoft.com/office/drawing/2014/main" id="{BB18A643-5648-434B-9D2B-9E62F7FC4D2E}"/>
              </a:ext>
            </a:extLst>
          </p:cNvPr>
          <p:cNvSpPr/>
          <p:nvPr/>
        </p:nvSpPr>
        <p:spPr>
          <a:xfrm>
            <a:off x="6096000" y="2359772"/>
            <a:ext cx="2158256" cy="712818"/>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1400" dirty="0"/>
              <a:t>Give us a Jira ticket, we will fetch the documents from Inventory</a:t>
            </a:r>
          </a:p>
        </p:txBody>
      </p:sp>
      <p:sp>
        <p:nvSpPr>
          <p:cNvPr id="16" name="Thought Bubble: Cloud 15">
            <a:extLst>
              <a:ext uri="{FF2B5EF4-FFF2-40B4-BE49-F238E27FC236}">
                <a16:creationId xmlns:a16="http://schemas.microsoft.com/office/drawing/2014/main" id="{566A84E3-63A9-4BC6-9EDB-5FF1D10300E3}"/>
              </a:ext>
            </a:extLst>
          </p:cNvPr>
          <p:cNvSpPr/>
          <p:nvPr/>
        </p:nvSpPr>
        <p:spPr>
          <a:xfrm>
            <a:off x="3979146" y="1420922"/>
            <a:ext cx="1504838" cy="693018"/>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at to do then ?</a:t>
            </a:r>
          </a:p>
        </p:txBody>
      </p:sp>
      <p:sp>
        <p:nvSpPr>
          <p:cNvPr id="17" name="Thought Bubble: Cloud 16">
            <a:extLst>
              <a:ext uri="{FF2B5EF4-FFF2-40B4-BE49-F238E27FC236}">
                <a16:creationId xmlns:a16="http://schemas.microsoft.com/office/drawing/2014/main" id="{60D2752C-6D93-4724-B762-EAF0087AFE63}"/>
              </a:ext>
            </a:extLst>
          </p:cNvPr>
          <p:cNvSpPr/>
          <p:nvPr/>
        </p:nvSpPr>
        <p:spPr>
          <a:xfrm>
            <a:off x="6743087" y="1223401"/>
            <a:ext cx="1859873" cy="872264"/>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at if its already downloaded</a:t>
            </a:r>
          </a:p>
        </p:txBody>
      </p:sp>
      <p:sp>
        <p:nvSpPr>
          <p:cNvPr id="18" name="Rectangle: Rounded Corners 17">
            <a:extLst>
              <a:ext uri="{FF2B5EF4-FFF2-40B4-BE49-F238E27FC236}">
                <a16:creationId xmlns:a16="http://schemas.microsoft.com/office/drawing/2014/main" id="{8F3C55B4-DBAF-402C-AA4C-7B9516B3B77D}"/>
              </a:ext>
            </a:extLst>
          </p:cNvPr>
          <p:cNvSpPr/>
          <p:nvPr/>
        </p:nvSpPr>
        <p:spPr>
          <a:xfrm>
            <a:off x="9006526" y="2364041"/>
            <a:ext cx="2388463" cy="712818"/>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1400" dirty="0"/>
              <a:t>No problem, paste only those many documents which you wish to label</a:t>
            </a:r>
          </a:p>
        </p:txBody>
      </p:sp>
      <p:sp>
        <p:nvSpPr>
          <p:cNvPr id="19" name="Thought Bubble: Cloud 18">
            <a:extLst>
              <a:ext uri="{FF2B5EF4-FFF2-40B4-BE49-F238E27FC236}">
                <a16:creationId xmlns:a16="http://schemas.microsoft.com/office/drawing/2014/main" id="{5EBC1CDC-DAF5-4A18-8C7B-1CFC330A0C29}"/>
              </a:ext>
            </a:extLst>
          </p:cNvPr>
          <p:cNvSpPr/>
          <p:nvPr/>
        </p:nvSpPr>
        <p:spPr>
          <a:xfrm>
            <a:off x="9653612" y="1013339"/>
            <a:ext cx="2144932" cy="1086595"/>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But I do not need all downloaded documents</a:t>
            </a:r>
          </a:p>
        </p:txBody>
      </p:sp>
      <p:sp>
        <p:nvSpPr>
          <p:cNvPr id="20" name="Rectangle: Rounded Corners 19">
            <a:extLst>
              <a:ext uri="{FF2B5EF4-FFF2-40B4-BE49-F238E27FC236}">
                <a16:creationId xmlns:a16="http://schemas.microsoft.com/office/drawing/2014/main" id="{03F79DE5-7230-4D85-926F-502FBBAD60A8}"/>
              </a:ext>
            </a:extLst>
          </p:cNvPr>
          <p:cNvSpPr/>
          <p:nvPr/>
        </p:nvSpPr>
        <p:spPr>
          <a:xfrm>
            <a:off x="8709666" y="4065563"/>
            <a:ext cx="2970075" cy="939772"/>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1400" dirty="0"/>
              <a:t>It won’t. they are linked with MongoDB analytics. Once processed, the document will not get processed again</a:t>
            </a:r>
          </a:p>
        </p:txBody>
      </p:sp>
      <p:sp>
        <p:nvSpPr>
          <p:cNvPr id="21" name="Thought Bubble: Cloud 20">
            <a:extLst>
              <a:ext uri="{FF2B5EF4-FFF2-40B4-BE49-F238E27FC236}">
                <a16:creationId xmlns:a16="http://schemas.microsoft.com/office/drawing/2014/main" id="{BE1DF3A5-B035-42F2-8AB7-2250D3E12E66}"/>
              </a:ext>
            </a:extLst>
          </p:cNvPr>
          <p:cNvSpPr/>
          <p:nvPr/>
        </p:nvSpPr>
        <p:spPr>
          <a:xfrm>
            <a:off x="9524522" y="5253911"/>
            <a:ext cx="2138455" cy="967082"/>
          </a:xfrm>
          <a:prstGeom prst="cloudCallout">
            <a:avLst>
              <a:gd name="adj1" fmla="val -48913"/>
              <a:gd name="adj2" fmla="val -668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But what if the documents get repeated ?</a:t>
            </a:r>
          </a:p>
        </p:txBody>
      </p:sp>
      <p:sp>
        <p:nvSpPr>
          <p:cNvPr id="22" name="Rectangle: Rounded Corners 21">
            <a:extLst>
              <a:ext uri="{FF2B5EF4-FFF2-40B4-BE49-F238E27FC236}">
                <a16:creationId xmlns:a16="http://schemas.microsoft.com/office/drawing/2014/main" id="{AD11FDE0-8452-4354-8AB7-FAE4FEDC9E03}"/>
              </a:ext>
            </a:extLst>
          </p:cNvPr>
          <p:cNvSpPr/>
          <p:nvPr/>
        </p:nvSpPr>
        <p:spPr>
          <a:xfrm>
            <a:off x="4472359" y="3956430"/>
            <a:ext cx="2970075" cy="1144213"/>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1400" dirty="0"/>
              <a:t>Create the setup under the Jira ticket and let the structure get created. The configurations will be created automatically.</a:t>
            </a:r>
          </a:p>
        </p:txBody>
      </p:sp>
      <p:sp>
        <p:nvSpPr>
          <p:cNvPr id="23" name="Thought Bubble: Cloud 22">
            <a:extLst>
              <a:ext uri="{FF2B5EF4-FFF2-40B4-BE49-F238E27FC236}">
                <a16:creationId xmlns:a16="http://schemas.microsoft.com/office/drawing/2014/main" id="{4139C95D-9DDA-4465-A624-3EA58E3CCDB1}"/>
              </a:ext>
            </a:extLst>
          </p:cNvPr>
          <p:cNvSpPr/>
          <p:nvPr/>
        </p:nvSpPr>
        <p:spPr>
          <a:xfrm>
            <a:off x="5914796" y="5334064"/>
            <a:ext cx="2138455" cy="1144213"/>
          </a:xfrm>
          <a:prstGeom prst="cloudCallout">
            <a:avLst>
              <a:gd name="adj1" fmla="val -48913"/>
              <a:gd name="adj2" fmla="val -668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ere do I start ?</a:t>
            </a:r>
          </a:p>
        </p:txBody>
      </p:sp>
      <p:cxnSp>
        <p:nvCxnSpPr>
          <p:cNvPr id="28" name="Straight Arrow Connector 27">
            <a:extLst>
              <a:ext uri="{FF2B5EF4-FFF2-40B4-BE49-F238E27FC236}">
                <a16:creationId xmlns:a16="http://schemas.microsoft.com/office/drawing/2014/main" id="{7D75EC0F-6739-4188-A9AD-DFCB566CA820}"/>
              </a:ext>
            </a:extLst>
          </p:cNvPr>
          <p:cNvCxnSpPr>
            <a:stCxn id="13" idx="3"/>
            <a:endCxn id="14" idx="1"/>
          </p:cNvCxnSpPr>
          <p:nvPr/>
        </p:nvCxnSpPr>
        <p:spPr>
          <a:xfrm flipV="1">
            <a:off x="2650714" y="2716181"/>
            <a:ext cx="712817" cy="1"/>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0" name="Straight Arrow Connector 29">
            <a:extLst>
              <a:ext uri="{FF2B5EF4-FFF2-40B4-BE49-F238E27FC236}">
                <a16:creationId xmlns:a16="http://schemas.microsoft.com/office/drawing/2014/main" id="{87CCFEB7-3AD2-4370-9883-745CB7B27DA3}"/>
              </a:ext>
            </a:extLst>
          </p:cNvPr>
          <p:cNvCxnSpPr>
            <a:cxnSpLocks/>
            <a:stCxn id="14" idx="3"/>
            <a:endCxn id="15" idx="1"/>
          </p:cNvCxnSpPr>
          <p:nvPr/>
        </p:nvCxnSpPr>
        <p:spPr>
          <a:xfrm>
            <a:off x="5501986" y="2716181"/>
            <a:ext cx="594014" cy="0"/>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2" name="Straight Arrow Connector 31">
            <a:extLst>
              <a:ext uri="{FF2B5EF4-FFF2-40B4-BE49-F238E27FC236}">
                <a16:creationId xmlns:a16="http://schemas.microsoft.com/office/drawing/2014/main" id="{863F5A8F-F8BB-4909-AB58-852D98DB67CF}"/>
              </a:ext>
            </a:extLst>
          </p:cNvPr>
          <p:cNvCxnSpPr>
            <a:cxnSpLocks/>
            <a:stCxn id="15" idx="3"/>
            <a:endCxn id="18" idx="1"/>
          </p:cNvCxnSpPr>
          <p:nvPr/>
        </p:nvCxnSpPr>
        <p:spPr>
          <a:xfrm>
            <a:off x="8254256" y="2716181"/>
            <a:ext cx="752270" cy="4269"/>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4" name="Straight Arrow Connector 33">
            <a:extLst>
              <a:ext uri="{FF2B5EF4-FFF2-40B4-BE49-F238E27FC236}">
                <a16:creationId xmlns:a16="http://schemas.microsoft.com/office/drawing/2014/main" id="{84B92B0A-7BE8-4D41-8BE3-B4DB8B8385DA}"/>
              </a:ext>
            </a:extLst>
          </p:cNvPr>
          <p:cNvCxnSpPr>
            <a:cxnSpLocks/>
            <a:stCxn id="18" idx="2"/>
            <a:endCxn id="20" idx="0"/>
          </p:cNvCxnSpPr>
          <p:nvPr/>
        </p:nvCxnSpPr>
        <p:spPr>
          <a:xfrm flipH="1">
            <a:off x="10194704" y="3076859"/>
            <a:ext cx="6054" cy="988704"/>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9" name="Straight Arrow Connector 38">
            <a:extLst>
              <a:ext uri="{FF2B5EF4-FFF2-40B4-BE49-F238E27FC236}">
                <a16:creationId xmlns:a16="http://schemas.microsoft.com/office/drawing/2014/main" id="{A3E066FF-BB01-4EEF-8DA6-79341E30385E}"/>
              </a:ext>
            </a:extLst>
          </p:cNvPr>
          <p:cNvCxnSpPr>
            <a:cxnSpLocks/>
            <a:stCxn id="20" idx="1"/>
            <a:endCxn id="22" idx="3"/>
          </p:cNvCxnSpPr>
          <p:nvPr/>
        </p:nvCxnSpPr>
        <p:spPr>
          <a:xfrm flipH="1" flipV="1">
            <a:off x="7442434" y="4528537"/>
            <a:ext cx="1267232" cy="6912"/>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33" name="Rectangle: Rounded Corners 32">
            <a:extLst>
              <a:ext uri="{FF2B5EF4-FFF2-40B4-BE49-F238E27FC236}">
                <a16:creationId xmlns:a16="http://schemas.microsoft.com/office/drawing/2014/main" id="{3AE7AA2C-1449-449E-AEBC-02F0FBD494B9}"/>
              </a:ext>
            </a:extLst>
          </p:cNvPr>
          <p:cNvSpPr/>
          <p:nvPr/>
        </p:nvSpPr>
        <p:spPr>
          <a:xfrm>
            <a:off x="635560" y="3945913"/>
            <a:ext cx="2970075" cy="1144213"/>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1400" dirty="0"/>
              <a:t>Just continue with the process using automation scripts. Upload to AIQ, download from AIQ and take it to Area51</a:t>
            </a:r>
          </a:p>
        </p:txBody>
      </p:sp>
      <p:sp>
        <p:nvSpPr>
          <p:cNvPr id="35" name="Thought Bubble: Cloud 34">
            <a:extLst>
              <a:ext uri="{FF2B5EF4-FFF2-40B4-BE49-F238E27FC236}">
                <a16:creationId xmlns:a16="http://schemas.microsoft.com/office/drawing/2014/main" id="{7F0EF3AC-38C7-4FD1-8E4E-535F29558222}"/>
              </a:ext>
            </a:extLst>
          </p:cNvPr>
          <p:cNvSpPr/>
          <p:nvPr/>
        </p:nvSpPr>
        <p:spPr>
          <a:xfrm>
            <a:off x="2077997" y="5323547"/>
            <a:ext cx="2138455" cy="1144213"/>
          </a:xfrm>
          <a:prstGeom prst="cloudCallout">
            <a:avLst>
              <a:gd name="adj1" fmla="val -48913"/>
              <a:gd name="adj2" fmla="val -668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Ok, what next ? </a:t>
            </a:r>
          </a:p>
        </p:txBody>
      </p:sp>
      <p:cxnSp>
        <p:nvCxnSpPr>
          <p:cNvPr id="29" name="Straight Arrow Connector 28">
            <a:extLst>
              <a:ext uri="{FF2B5EF4-FFF2-40B4-BE49-F238E27FC236}">
                <a16:creationId xmlns:a16="http://schemas.microsoft.com/office/drawing/2014/main" id="{C03739BC-92B6-46BD-919A-B20EA6D22F1D}"/>
              </a:ext>
            </a:extLst>
          </p:cNvPr>
          <p:cNvCxnSpPr>
            <a:stCxn id="22" idx="1"/>
            <a:endCxn id="33" idx="3"/>
          </p:cNvCxnSpPr>
          <p:nvPr/>
        </p:nvCxnSpPr>
        <p:spPr>
          <a:xfrm flipH="1" flipV="1">
            <a:off x="3605635" y="4518020"/>
            <a:ext cx="866724" cy="10517"/>
          </a:xfrm>
          <a:prstGeom prst="straightConnector1">
            <a:avLst/>
          </a:prstGeom>
          <a:ln w="25400" cap="flat" cmpd="sng" algn="ctr">
            <a:solidFill>
              <a:schemeClr val="bg2"/>
            </a:solidFill>
            <a:prstDash val="solid"/>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278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6865424-9B5A-4E90-89E5-D58B98467A11}"/>
              </a:ext>
            </a:extLst>
          </p:cNvPr>
          <p:cNvSpPr>
            <a:spLocks noGrp="1"/>
          </p:cNvSpPr>
          <p:nvPr>
            <p:ph type="title"/>
          </p:nvPr>
        </p:nvSpPr>
        <p:spPr/>
        <p:txBody>
          <a:bodyPr/>
          <a:lstStyle/>
          <a:p>
            <a:r>
              <a:rPr lang="en-US" dirty="0"/>
              <a:t>Databank Mind Map – Step 3 Analytics</a:t>
            </a:r>
          </a:p>
        </p:txBody>
      </p:sp>
      <p:sp>
        <p:nvSpPr>
          <p:cNvPr id="2" name="Slide Number Placeholder 1">
            <a:extLst>
              <a:ext uri="{FF2B5EF4-FFF2-40B4-BE49-F238E27FC236}">
                <a16:creationId xmlns:a16="http://schemas.microsoft.com/office/drawing/2014/main" id="{8786F797-8D92-4E5D-B265-8E66962DC5D0}"/>
              </a:ext>
            </a:extLst>
          </p:cNvPr>
          <p:cNvSpPr>
            <a:spLocks noGrp="1"/>
          </p:cNvSpPr>
          <p:nvPr>
            <p:ph type="sldNum" sz="quarter" idx="12"/>
          </p:nvPr>
        </p:nvSpPr>
        <p:spPr/>
        <p:txBody>
          <a:bodyPr/>
          <a:lstStyle/>
          <a:p>
            <a:fld id="{8A6D9EF2-1078-4CF1-AE32-B8E5CFC7CD9F}" type="slidenum">
              <a:rPr lang="en-US" smtClean="0"/>
              <a:pPr/>
              <a:t>15</a:t>
            </a:fld>
            <a:endParaRPr lang="en-US" dirty="0"/>
          </a:p>
        </p:txBody>
      </p:sp>
      <p:sp>
        <p:nvSpPr>
          <p:cNvPr id="8" name="Thought Bubble: Cloud 7">
            <a:extLst>
              <a:ext uri="{FF2B5EF4-FFF2-40B4-BE49-F238E27FC236}">
                <a16:creationId xmlns:a16="http://schemas.microsoft.com/office/drawing/2014/main" id="{D5F14871-C013-402F-A1AF-F075DEDC6E3C}"/>
              </a:ext>
            </a:extLst>
          </p:cNvPr>
          <p:cNvSpPr/>
          <p:nvPr/>
        </p:nvSpPr>
        <p:spPr>
          <a:xfrm>
            <a:off x="941391" y="1427811"/>
            <a:ext cx="2037487" cy="872264"/>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at after executing the automation ?</a:t>
            </a:r>
          </a:p>
        </p:txBody>
      </p:sp>
      <p:sp>
        <p:nvSpPr>
          <p:cNvPr id="13" name="Rectangle: Rounded Corners 12">
            <a:extLst>
              <a:ext uri="{FF2B5EF4-FFF2-40B4-BE49-F238E27FC236}">
                <a16:creationId xmlns:a16="http://schemas.microsoft.com/office/drawing/2014/main" id="{D6A077CA-87D8-4D7B-99F0-660EAD217603}"/>
              </a:ext>
            </a:extLst>
          </p:cNvPr>
          <p:cNvSpPr/>
          <p:nvPr/>
        </p:nvSpPr>
        <p:spPr>
          <a:xfrm>
            <a:off x="458673" y="2602861"/>
            <a:ext cx="2138455" cy="712818"/>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a:t>Look for the documents in file system and traces in MongoDB</a:t>
            </a:r>
          </a:p>
        </p:txBody>
      </p:sp>
      <p:sp>
        <p:nvSpPr>
          <p:cNvPr id="14" name="Rectangle: Rounded Corners 13">
            <a:extLst>
              <a:ext uri="{FF2B5EF4-FFF2-40B4-BE49-F238E27FC236}">
                <a16:creationId xmlns:a16="http://schemas.microsoft.com/office/drawing/2014/main" id="{411F09BB-B0E0-4501-A1AA-CDBA7855F90E}"/>
              </a:ext>
            </a:extLst>
          </p:cNvPr>
          <p:cNvSpPr/>
          <p:nvPr/>
        </p:nvSpPr>
        <p:spPr>
          <a:xfrm>
            <a:off x="3363531" y="2525999"/>
            <a:ext cx="2132401" cy="872264"/>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a:t>We need to run the Snapshot script to take the Near real time image of databank</a:t>
            </a:r>
          </a:p>
        </p:txBody>
      </p:sp>
      <p:sp>
        <p:nvSpPr>
          <p:cNvPr id="15" name="Rectangle: Rounded Corners 14">
            <a:extLst>
              <a:ext uri="{FF2B5EF4-FFF2-40B4-BE49-F238E27FC236}">
                <a16:creationId xmlns:a16="http://schemas.microsoft.com/office/drawing/2014/main" id="{BB18A643-5648-434B-9D2B-9E62F7FC4D2E}"/>
              </a:ext>
            </a:extLst>
          </p:cNvPr>
          <p:cNvSpPr/>
          <p:nvPr/>
        </p:nvSpPr>
        <p:spPr>
          <a:xfrm>
            <a:off x="5891663" y="2399374"/>
            <a:ext cx="2619997" cy="1144213"/>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a:t>The moment we run automation script, the files touched makes an update in Mongo Db, to mark its attendance</a:t>
            </a:r>
          </a:p>
        </p:txBody>
      </p:sp>
      <p:sp>
        <p:nvSpPr>
          <p:cNvPr id="16" name="Thought Bubble: Cloud 15">
            <a:extLst>
              <a:ext uri="{FF2B5EF4-FFF2-40B4-BE49-F238E27FC236}">
                <a16:creationId xmlns:a16="http://schemas.microsoft.com/office/drawing/2014/main" id="{566A84E3-63A9-4BC6-9EDB-5FF1D10300E3}"/>
              </a:ext>
            </a:extLst>
          </p:cNvPr>
          <p:cNvSpPr/>
          <p:nvPr/>
        </p:nvSpPr>
        <p:spPr>
          <a:xfrm>
            <a:off x="3605636" y="1241676"/>
            <a:ext cx="2138456" cy="872264"/>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How to status of daily pipeline executions ?</a:t>
            </a:r>
          </a:p>
        </p:txBody>
      </p:sp>
      <p:sp>
        <p:nvSpPr>
          <p:cNvPr id="17" name="Thought Bubble: Cloud 16">
            <a:extLst>
              <a:ext uri="{FF2B5EF4-FFF2-40B4-BE49-F238E27FC236}">
                <a16:creationId xmlns:a16="http://schemas.microsoft.com/office/drawing/2014/main" id="{60D2752C-6D93-4724-B762-EAF0087AFE63}"/>
              </a:ext>
            </a:extLst>
          </p:cNvPr>
          <p:cNvSpPr/>
          <p:nvPr/>
        </p:nvSpPr>
        <p:spPr>
          <a:xfrm>
            <a:off x="6267799" y="1297033"/>
            <a:ext cx="2362592" cy="872264"/>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How do we know which documents are processed</a:t>
            </a:r>
          </a:p>
        </p:txBody>
      </p:sp>
      <p:sp>
        <p:nvSpPr>
          <p:cNvPr id="18" name="Rectangle: Rounded Corners 17">
            <a:extLst>
              <a:ext uri="{FF2B5EF4-FFF2-40B4-BE49-F238E27FC236}">
                <a16:creationId xmlns:a16="http://schemas.microsoft.com/office/drawing/2014/main" id="{8F3C55B4-DBAF-402C-AA4C-7B9516B3B77D}"/>
              </a:ext>
            </a:extLst>
          </p:cNvPr>
          <p:cNvSpPr/>
          <p:nvPr/>
        </p:nvSpPr>
        <p:spPr>
          <a:xfrm>
            <a:off x="9006526" y="2393782"/>
            <a:ext cx="2726801" cy="1144212"/>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a:t>It won't be allowed. It will check for its flag in MongoDB. If its marked present, then document will be skipped from processing</a:t>
            </a:r>
          </a:p>
        </p:txBody>
      </p:sp>
      <p:sp>
        <p:nvSpPr>
          <p:cNvPr id="19" name="Thought Bubble: Cloud 18">
            <a:extLst>
              <a:ext uri="{FF2B5EF4-FFF2-40B4-BE49-F238E27FC236}">
                <a16:creationId xmlns:a16="http://schemas.microsoft.com/office/drawing/2014/main" id="{5EBC1CDC-DAF5-4A18-8C7B-1CFC330A0C29}"/>
              </a:ext>
            </a:extLst>
          </p:cNvPr>
          <p:cNvSpPr/>
          <p:nvPr/>
        </p:nvSpPr>
        <p:spPr>
          <a:xfrm>
            <a:off x="9581461" y="1002142"/>
            <a:ext cx="2144932" cy="1086595"/>
          </a:xfrm>
          <a:prstGeom prst="cloudCallout">
            <a:avLst>
              <a:gd name="adj1" fmla="val -29247"/>
              <a:gd name="adj2" fmla="val 767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What if the same document is processed once again</a:t>
            </a:r>
          </a:p>
        </p:txBody>
      </p:sp>
      <p:sp>
        <p:nvSpPr>
          <p:cNvPr id="20" name="Rectangle: Rounded Corners 19">
            <a:extLst>
              <a:ext uri="{FF2B5EF4-FFF2-40B4-BE49-F238E27FC236}">
                <a16:creationId xmlns:a16="http://schemas.microsoft.com/office/drawing/2014/main" id="{03F79DE5-7230-4D85-926F-502FBBAD60A8}"/>
              </a:ext>
            </a:extLst>
          </p:cNvPr>
          <p:cNvSpPr/>
          <p:nvPr/>
        </p:nvSpPr>
        <p:spPr>
          <a:xfrm>
            <a:off x="8907671" y="3886520"/>
            <a:ext cx="2970075" cy="1214123"/>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a:t>Snapshot will have all entries which are present on file systems grouped by site name, doc type, Jira tickets, processes  &amp; IDs. We can take any report out from here</a:t>
            </a:r>
          </a:p>
        </p:txBody>
      </p:sp>
      <p:sp>
        <p:nvSpPr>
          <p:cNvPr id="21" name="Thought Bubble: Cloud 20">
            <a:extLst>
              <a:ext uri="{FF2B5EF4-FFF2-40B4-BE49-F238E27FC236}">
                <a16:creationId xmlns:a16="http://schemas.microsoft.com/office/drawing/2014/main" id="{BE1DF3A5-B035-42F2-8AB7-2250D3E12E66}"/>
              </a:ext>
            </a:extLst>
          </p:cNvPr>
          <p:cNvSpPr/>
          <p:nvPr/>
        </p:nvSpPr>
        <p:spPr>
          <a:xfrm>
            <a:off x="9777605" y="5422628"/>
            <a:ext cx="2138455" cy="967082"/>
          </a:xfrm>
          <a:prstGeom prst="cloudCallout">
            <a:avLst>
              <a:gd name="adj1" fmla="val -48913"/>
              <a:gd name="adj2" fmla="val -668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Ok, what will the snapshot help ?</a:t>
            </a:r>
          </a:p>
        </p:txBody>
      </p:sp>
      <p:sp>
        <p:nvSpPr>
          <p:cNvPr id="22" name="Rectangle: Rounded Corners 21">
            <a:extLst>
              <a:ext uri="{FF2B5EF4-FFF2-40B4-BE49-F238E27FC236}">
                <a16:creationId xmlns:a16="http://schemas.microsoft.com/office/drawing/2014/main" id="{AD11FDE0-8452-4354-8AB7-FAE4FEDC9E03}"/>
              </a:ext>
            </a:extLst>
          </p:cNvPr>
          <p:cNvSpPr/>
          <p:nvPr/>
        </p:nvSpPr>
        <p:spPr>
          <a:xfrm>
            <a:off x="4520585" y="4033413"/>
            <a:ext cx="2970075" cy="945632"/>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a:t>It can be taken any time, but taking it after a pipeline activity makes since, as it will add certain information to the report</a:t>
            </a:r>
          </a:p>
        </p:txBody>
      </p:sp>
      <p:sp>
        <p:nvSpPr>
          <p:cNvPr id="23" name="Thought Bubble: Cloud 22">
            <a:extLst>
              <a:ext uri="{FF2B5EF4-FFF2-40B4-BE49-F238E27FC236}">
                <a16:creationId xmlns:a16="http://schemas.microsoft.com/office/drawing/2014/main" id="{4139C95D-9DDA-4465-A624-3EA58E3CCDB1}"/>
              </a:ext>
            </a:extLst>
          </p:cNvPr>
          <p:cNvSpPr/>
          <p:nvPr/>
        </p:nvSpPr>
        <p:spPr>
          <a:xfrm>
            <a:off x="5914796" y="5334064"/>
            <a:ext cx="2138455" cy="1144213"/>
          </a:xfrm>
          <a:prstGeom prst="cloudCallout">
            <a:avLst>
              <a:gd name="adj1" fmla="val -48913"/>
              <a:gd name="adj2" fmla="val -668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How frequently a snapshot can be taken ?</a:t>
            </a:r>
          </a:p>
        </p:txBody>
      </p:sp>
      <p:cxnSp>
        <p:nvCxnSpPr>
          <p:cNvPr id="28" name="Straight Arrow Connector 27">
            <a:extLst>
              <a:ext uri="{FF2B5EF4-FFF2-40B4-BE49-F238E27FC236}">
                <a16:creationId xmlns:a16="http://schemas.microsoft.com/office/drawing/2014/main" id="{7D75EC0F-6739-4188-A9AD-DFCB566CA820}"/>
              </a:ext>
            </a:extLst>
          </p:cNvPr>
          <p:cNvCxnSpPr>
            <a:cxnSpLocks/>
            <a:stCxn id="13" idx="3"/>
            <a:endCxn id="14" idx="1"/>
          </p:cNvCxnSpPr>
          <p:nvPr/>
        </p:nvCxnSpPr>
        <p:spPr>
          <a:xfrm>
            <a:off x="2597128" y="2959270"/>
            <a:ext cx="766403" cy="2861"/>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0" name="Straight Arrow Connector 29">
            <a:extLst>
              <a:ext uri="{FF2B5EF4-FFF2-40B4-BE49-F238E27FC236}">
                <a16:creationId xmlns:a16="http://schemas.microsoft.com/office/drawing/2014/main" id="{87CCFEB7-3AD2-4370-9883-745CB7B27DA3}"/>
              </a:ext>
            </a:extLst>
          </p:cNvPr>
          <p:cNvCxnSpPr>
            <a:cxnSpLocks/>
            <a:stCxn id="14" idx="3"/>
            <a:endCxn id="15" idx="1"/>
          </p:cNvCxnSpPr>
          <p:nvPr/>
        </p:nvCxnSpPr>
        <p:spPr>
          <a:xfrm>
            <a:off x="5495932" y="2962131"/>
            <a:ext cx="395731" cy="9350"/>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2" name="Straight Arrow Connector 31">
            <a:extLst>
              <a:ext uri="{FF2B5EF4-FFF2-40B4-BE49-F238E27FC236}">
                <a16:creationId xmlns:a16="http://schemas.microsoft.com/office/drawing/2014/main" id="{863F5A8F-F8BB-4909-AB58-852D98DB67CF}"/>
              </a:ext>
            </a:extLst>
          </p:cNvPr>
          <p:cNvCxnSpPr>
            <a:cxnSpLocks/>
            <a:stCxn id="15" idx="3"/>
            <a:endCxn id="18" idx="1"/>
          </p:cNvCxnSpPr>
          <p:nvPr/>
        </p:nvCxnSpPr>
        <p:spPr>
          <a:xfrm flipV="1">
            <a:off x="8511660" y="2965888"/>
            <a:ext cx="494866" cy="5593"/>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4" name="Straight Arrow Connector 33">
            <a:extLst>
              <a:ext uri="{FF2B5EF4-FFF2-40B4-BE49-F238E27FC236}">
                <a16:creationId xmlns:a16="http://schemas.microsoft.com/office/drawing/2014/main" id="{84B92B0A-7BE8-4D41-8BE3-B4DB8B8385DA}"/>
              </a:ext>
            </a:extLst>
          </p:cNvPr>
          <p:cNvCxnSpPr>
            <a:cxnSpLocks/>
            <a:stCxn id="18" idx="2"/>
            <a:endCxn id="20" idx="0"/>
          </p:cNvCxnSpPr>
          <p:nvPr/>
        </p:nvCxnSpPr>
        <p:spPr>
          <a:xfrm>
            <a:off x="10369927" y="3537994"/>
            <a:ext cx="22782" cy="348526"/>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39" name="Straight Arrow Connector 38">
            <a:extLst>
              <a:ext uri="{FF2B5EF4-FFF2-40B4-BE49-F238E27FC236}">
                <a16:creationId xmlns:a16="http://schemas.microsoft.com/office/drawing/2014/main" id="{A3E066FF-BB01-4EEF-8DA6-79341E30385E}"/>
              </a:ext>
            </a:extLst>
          </p:cNvPr>
          <p:cNvCxnSpPr>
            <a:cxnSpLocks/>
            <a:stCxn id="20" idx="1"/>
            <a:endCxn id="22" idx="3"/>
          </p:cNvCxnSpPr>
          <p:nvPr/>
        </p:nvCxnSpPr>
        <p:spPr>
          <a:xfrm flipH="1">
            <a:off x="7490660" y="4493582"/>
            <a:ext cx="1417011" cy="12647"/>
          </a:xfrm>
          <a:prstGeom prst="straightConnector1">
            <a:avLst/>
          </a:prstGeom>
          <a:ln>
            <a:solidFill>
              <a:schemeClr val="tx1"/>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33" name="Rectangle: Rounded Corners 32">
            <a:extLst>
              <a:ext uri="{FF2B5EF4-FFF2-40B4-BE49-F238E27FC236}">
                <a16:creationId xmlns:a16="http://schemas.microsoft.com/office/drawing/2014/main" id="{3AE7AA2C-1449-449E-AEBC-02F0FBD494B9}"/>
              </a:ext>
            </a:extLst>
          </p:cNvPr>
          <p:cNvSpPr/>
          <p:nvPr/>
        </p:nvSpPr>
        <p:spPr>
          <a:xfrm>
            <a:off x="635561" y="3948963"/>
            <a:ext cx="2970075" cy="1144213"/>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a:t>Keep a watch on databank activity without asking for a status from engineers or manager. Everything is transparent.</a:t>
            </a:r>
          </a:p>
          <a:p>
            <a:pPr algn="ctr"/>
            <a:endParaRPr lang="en-US" sz="1400" dirty="0"/>
          </a:p>
        </p:txBody>
      </p:sp>
      <p:sp>
        <p:nvSpPr>
          <p:cNvPr id="35" name="Thought Bubble: Cloud 34">
            <a:extLst>
              <a:ext uri="{FF2B5EF4-FFF2-40B4-BE49-F238E27FC236}">
                <a16:creationId xmlns:a16="http://schemas.microsoft.com/office/drawing/2014/main" id="{7F0EF3AC-38C7-4FD1-8E4E-535F29558222}"/>
              </a:ext>
            </a:extLst>
          </p:cNvPr>
          <p:cNvSpPr/>
          <p:nvPr/>
        </p:nvSpPr>
        <p:spPr>
          <a:xfrm>
            <a:off x="1963096" y="5334063"/>
            <a:ext cx="2138455" cy="1144213"/>
          </a:xfrm>
          <a:prstGeom prst="cloudCallout">
            <a:avLst>
              <a:gd name="adj1" fmla="val -48913"/>
              <a:gd name="adj2" fmla="val -668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mbria" panose="02040503050406030204" pitchFamily="18" charset="0"/>
                <a:ea typeface="Cambria" panose="02040503050406030204" pitchFamily="18" charset="0"/>
              </a:rPr>
              <a:t>Ok, what next ? </a:t>
            </a:r>
          </a:p>
        </p:txBody>
      </p:sp>
      <p:cxnSp>
        <p:nvCxnSpPr>
          <p:cNvPr id="29" name="Straight Arrow Connector 28">
            <a:extLst>
              <a:ext uri="{FF2B5EF4-FFF2-40B4-BE49-F238E27FC236}">
                <a16:creationId xmlns:a16="http://schemas.microsoft.com/office/drawing/2014/main" id="{C03739BC-92B6-46BD-919A-B20EA6D22F1D}"/>
              </a:ext>
            </a:extLst>
          </p:cNvPr>
          <p:cNvCxnSpPr>
            <a:stCxn id="22" idx="1"/>
            <a:endCxn id="33" idx="3"/>
          </p:cNvCxnSpPr>
          <p:nvPr/>
        </p:nvCxnSpPr>
        <p:spPr>
          <a:xfrm flipH="1">
            <a:off x="3605636" y="4506229"/>
            <a:ext cx="914949" cy="14841"/>
          </a:xfrm>
          <a:prstGeom prst="straightConnector1">
            <a:avLst/>
          </a:prstGeom>
          <a:ln w="25400" cap="flat" cmpd="sng" algn="ctr">
            <a:solidFill>
              <a:schemeClr val="bg2"/>
            </a:solidFill>
            <a:prstDash val="solid"/>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90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59606C1-E5FA-4701-8B5C-3BF0152B3AB1}"/>
              </a:ext>
            </a:extLst>
          </p:cNvPr>
          <p:cNvSpPr>
            <a:spLocks noGrp="1"/>
          </p:cNvSpPr>
          <p:nvPr>
            <p:ph type="sldNum" sz="quarter" idx="4294967295"/>
          </p:nvPr>
        </p:nvSpPr>
        <p:spPr>
          <a:xfrm>
            <a:off x="11850688" y="6559550"/>
            <a:ext cx="341312" cy="138113"/>
          </a:xfrm>
        </p:spPr>
        <p:txBody>
          <a:bodyPr/>
          <a:lstStyle/>
          <a:p>
            <a:fld id="{8A6D9EF2-1078-4CF1-AE32-B8E5CFC7CD9F}" type="slidenum">
              <a:rPr lang="en-US" smtClean="0"/>
              <a:pPr/>
              <a:t>16</a:t>
            </a:fld>
            <a:endParaRPr lang="en-US" dirty="0"/>
          </a:p>
        </p:txBody>
      </p:sp>
    </p:spTree>
    <p:extLst>
      <p:ext uri="{BB962C8B-B14F-4D97-AF65-F5344CB8AC3E}">
        <p14:creationId xmlns:p14="http://schemas.microsoft.com/office/powerpoint/2010/main" val="13024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CCF3808-435A-4E9D-895A-D83D62BECE10}"/>
              </a:ext>
            </a:extLst>
          </p:cNvPr>
          <p:cNvSpPr>
            <a:spLocks noGrp="1"/>
          </p:cNvSpPr>
          <p:nvPr>
            <p:ph type="title"/>
          </p:nvPr>
        </p:nvSpPr>
        <p:spPr/>
        <p:txBody>
          <a:bodyPr vert="horz" lIns="91440" tIns="45720" rIns="91440" bIns="45720" rtlCol="0" anchor="t">
            <a:normAutofit/>
          </a:bodyPr>
          <a:lstStyle/>
          <a:p>
            <a:pPr algn="r">
              <a:lnSpc>
                <a:spcPct val="90000"/>
              </a:lnSpc>
            </a:pPr>
            <a:r>
              <a:rPr lang="en-US" sz="8000" kern="1200" dirty="0">
                <a:solidFill>
                  <a:srgbClr val="FFFFFF"/>
                </a:solidFill>
                <a:latin typeface="+mj-lt"/>
                <a:ea typeface="+mj-ea"/>
                <a:cs typeface="+mj-cs"/>
              </a:rPr>
              <a:t>Index</a:t>
            </a:r>
          </a:p>
        </p:txBody>
      </p:sp>
      <p:sp>
        <p:nvSpPr>
          <p:cNvPr id="8" name="Text Placeholder 7">
            <a:extLst>
              <a:ext uri="{FF2B5EF4-FFF2-40B4-BE49-F238E27FC236}">
                <a16:creationId xmlns:a16="http://schemas.microsoft.com/office/drawing/2014/main" id="{7F5477FF-C1F9-48DD-B33A-7468ED2EB0B6}"/>
              </a:ext>
            </a:extLst>
          </p:cNvPr>
          <p:cNvSpPr>
            <a:spLocks noGrp="1"/>
          </p:cNvSpPr>
          <p:nvPr>
            <p:ph sz="half" idx="1"/>
          </p:nvPr>
        </p:nvSpPr>
        <p:spPr>
          <a:xfrm>
            <a:off x="4907970" y="260920"/>
            <a:ext cx="4870923" cy="5966089"/>
          </a:xfrm>
        </p:spPr>
        <p:txBody>
          <a:bodyPr vert="horz" lIns="91440" tIns="45720" rIns="91440" bIns="45720" rtlCol="0">
            <a:normAutofit/>
          </a:bodyPr>
          <a:lstStyle/>
          <a:p>
            <a:pPr>
              <a:lnSpc>
                <a:spcPct val="70000"/>
              </a:lnSpc>
              <a:spcBef>
                <a:spcPts val="1000"/>
              </a:spcBef>
            </a:pPr>
            <a:r>
              <a:rPr lang="en-US" sz="1400" b="1" kern="1200" dirty="0">
                <a:solidFill>
                  <a:schemeClr val="accent2">
                    <a:lumMod val="75000"/>
                  </a:schemeClr>
                </a:solidFill>
                <a:latin typeface="+mn-lt"/>
                <a:ea typeface="+mn-ea"/>
                <a:cs typeface="+mn-cs"/>
              </a:rPr>
              <a:t>INTRODUCTION TO DATABANK</a:t>
            </a:r>
          </a:p>
          <a:p>
            <a:pPr>
              <a:lnSpc>
                <a:spcPct val="70000"/>
              </a:lnSpc>
              <a:spcBef>
                <a:spcPts val="1000"/>
              </a:spcBef>
            </a:pPr>
            <a:r>
              <a:rPr lang="en-US" sz="1400" b="1" dirty="0">
                <a:solidFill>
                  <a:schemeClr val="accent2">
                    <a:lumMod val="75000"/>
                  </a:schemeClr>
                </a:solidFill>
              </a:rPr>
              <a:t>FEATURE DECK</a:t>
            </a:r>
            <a:endParaRPr lang="en-US" sz="1400" b="1" kern="1200" dirty="0">
              <a:solidFill>
                <a:schemeClr val="accent2">
                  <a:lumMod val="75000"/>
                </a:schemeClr>
              </a:solidFill>
              <a:latin typeface="+mn-lt"/>
              <a:ea typeface="+mn-ea"/>
              <a:cs typeface="+mn-cs"/>
            </a:endParaRPr>
          </a:p>
          <a:p>
            <a:pPr>
              <a:lnSpc>
                <a:spcPct val="70000"/>
              </a:lnSpc>
              <a:spcBef>
                <a:spcPts val="1000"/>
              </a:spcBef>
            </a:pPr>
            <a:r>
              <a:rPr lang="en-US" sz="1400" b="1" kern="1200" dirty="0">
                <a:solidFill>
                  <a:schemeClr val="accent2">
                    <a:lumMod val="75000"/>
                  </a:schemeClr>
                </a:solidFill>
                <a:latin typeface="+mn-lt"/>
                <a:ea typeface="+mn-ea"/>
                <a:cs typeface="+mn-cs"/>
              </a:rPr>
              <a:t>FUTURE ROAD MAP</a:t>
            </a:r>
          </a:p>
          <a:p>
            <a:pPr>
              <a:lnSpc>
                <a:spcPct val="70000"/>
              </a:lnSpc>
              <a:spcBef>
                <a:spcPts val="1000"/>
              </a:spcBef>
            </a:pPr>
            <a:endParaRPr lang="en-US" sz="1400" b="1" kern="1200" dirty="0">
              <a:solidFill>
                <a:schemeClr val="accent2">
                  <a:lumMod val="75000"/>
                </a:schemeClr>
              </a:solidFill>
              <a:latin typeface="+mn-lt"/>
              <a:ea typeface="+mn-ea"/>
              <a:cs typeface="+mn-cs"/>
            </a:endParaRPr>
          </a:p>
        </p:txBody>
      </p:sp>
      <p:sp>
        <p:nvSpPr>
          <p:cNvPr id="3" name="Slide Number Placeholder 2">
            <a:extLst>
              <a:ext uri="{FF2B5EF4-FFF2-40B4-BE49-F238E27FC236}">
                <a16:creationId xmlns:a16="http://schemas.microsoft.com/office/drawing/2014/main" id="{4962B0F1-C6FE-40D3-8242-75CF4D150398}"/>
              </a:ext>
            </a:extLst>
          </p:cNvPr>
          <p:cNvSpPr>
            <a:spLocks noGrp="1"/>
          </p:cNvSpPr>
          <p:nvPr>
            <p:ph type="sldNum" sz="quarter" idx="12"/>
          </p:nvPr>
        </p:nvSpPr>
        <p:spPr/>
        <p:txBody>
          <a:bodyPr vert="horz" lIns="91440" tIns="45720" rIns="91440" bIns="45720" rtlCol="0" anchor="ctr">
            <a:normAutofit fontScale="25000" lnSpcReduction="20000"/>
          </a:bodyPr>
          <a:lstStyle/>
          <a:p>
            <a:pPr>
              <a:spcAft>
                <a:spcPts val="600"/>
              </a:spcAft>
            </a:pPr>
            <a:fld id="{8A6D9EF2-1078-4CF1-AE32-B8E5CFC7CD9F}" type="slidenum">
              <a:rPr lang="en-US" sz="1200">
                <a:solidFill>
                  <a:srgbClr val="FFFFFF"/>
                </a:solidFill>
              </a:rPr>
              <a:pPr>
                <a:spcAft>
                  <a:spcPts val="600"/>
                </a:spcAft>
              </a:pPr>
              <a:t>2</a:t>
            </a:fld>
            <a:endParaRPr lang="en-US" sz="1200">
              <a:solidFill>
                <a:srgbClr val="FFFFFF"/>
              </a:solidFill>
            </a:endParaRPr>
          </a:p>
        </p:txBody>
      </p:sp>
    </p:spTree>
    <p:extLst>
      <p:ext uri="{BB962C8B-B14F-4D97-AF65-F5344CB8AC3E}">
        <p14:creationId xmlns:p14="http://schemas.microsoft.com/office/powerpoint/2010/main" val="347638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4962B0F1-C6FE-40D3-8242-75CF4D150398}"/>
              </a:ext>
            </a:extLst>
          </p:cNvPr>
          <p:cNvSpPr>
            <a:spLocks noGrp="1"/>
          </p:cNvSpPr>
          <p:nvPr>
            <p:ph type="sldNum" sz="quarter" idx="12"/>
          </p:nvPr>
        </p:nvSpPr>
        <p:spPr>
          <a:xfrm>
            <a:off x="8698935" y="6496504"/>
            <a:ext cx="2743200" cy="365125"/>
          </a:xfrm>
        </p:spPr>
        <p:txBody>
          <a:bodyPr vert="horz" lIns="91440" tIns="45720" rIns="91440" bIns="45720" rtlCol="0" anchor="ctr">
            <a:normAutofit/>
          </a:bodyPr>
          <a:lstStyle/>
          <a:p>
            <a:pPr>
              <a:spcAft>
                <a:spcPts val="600"/>
              </a:spcAft>
            </a:pPr>
            <a:fld id="{8A6D9EF2-1078-4CF1-AE32-B8E5CFC7CD9F}" type="slidenum">
              <a:rPr lang="en-US" sz="1200" smtClean="0">
                <a:solidFill>
                  <a:schemeClr val="tx1">
                    <a:tint val="75000"/>
                  </a:schemeClr>
                </a:solidFill>
              </a:rPr>
              <a:pPr>
                <a:spcAft>
                  <a:spcPts val="600"/>
                </a:spcAft>
              </a:pPr>
              <a:t>3</a:t>
            </a:fld>
            <a:endParaRPr lang="en-US" sz="1200" dirty="0">
              <a:solidFill>
                <a:schemeClr val="tx1">
                  <a:tint val="75000"/>
                </a:schemeClr>
              </a:solidFill>
            </a:endParaRPr>
          </a:p>
        </p:txBody>
      </p:sp>
      <p:sp>
        <p:nvSpPr>
          <p:cNvPr id="46" name="Title 4">
            <a:extLst>
              <a:ext uri="{FF2B5EF4-FFF2-40B4-BE49-F238E27FC236}">
                <a16:creationId xmlns:a16="http://schemas.microsoft.com/office/drawing/2014/main" id="{50F15880-802E-4B88-ABF9-5555CA34047F}"/>
              </a:ext>
            </a:extLst>
          </p:cNvPr>
          <p:cNvSpPr txBox="1">
            <a:spLocks/>
          </p:cNvSpPr>
          <p:nvPr/>
        </p:nvSpPr>
        <p:spPr>
          <a:xfrm>
            <a:off x="599604" y="359263"/>
            <a:ext cx="10850063" cy="891682"/>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3200" kern="1200" spc="150" baseline="0">
                <a:solidFill>
                  <a:schemeClr val="accent2"/>
                </a:solidFill>
                <a:latin typeface="+mj-lt"/>
                <a:ea typeface="+mj-ea"/>
                <a:cs typeface="+mj-cs"/>
              </a:defRPr>
            </a:lvl1pPr>
          </a:lstStyle>
          <a:p>
            <a:r>
              <a:rPr lang="en-US" sz="2400" dirty="0">
                <a:solidFill>
                  <a:schemeClr val="accent2">
                    <a:lumMod val="40000"/>
                    <a:lumOff val="60000"/>
                  </a:schemeClr>
                </a:solidFill>
              </a:rPr>
              <a:t>Introduction to Data Bank</a:t>
            </a:r>
            <a:endParaRPr lang="en-IN" sz="2400" dirty="0">
              <a:solidFill>
                <a:schemeClr val="accent2">
                  <a:lumMod val="40000"/>
                  <a:lumOff val="60000"/>
                </a:schemeClr>
              </a:solidFill>
            </a:endParaRPr>
          </a:p>
        </p:txBody>
      </p:sp>
      <p:sp>
        <p:nvSpPr>
          <p:cNvPr id="2" name="Rectangle 3">
            <a:extLst>
              <a:ext uri="{FF2B5EF4-FFF2-40B4-BE49-F238E27FC236}">
                <a16:creationId xmlns:a16="http://schemas.microsoft.com/office/drawing/2014/main" id="{D5000455-59CC-4D50-AEAA-C27AF9516283}"/>
              </a:ext>
            </a:extLst>
          </p:cNvPr>
          <p:cNvSpPr>
            <a:spLocks noChangeArrowheads="1"/>
          </p:cNvSpPr>
          <p:nvPr/>
        </p:nvSpPr>
        <p:spPr bwMode="auto">
          <a:xfrm>
            <a:off x="777632" y="4748964"/>
            <a:ext cx="10672035" cy="1661993"/>
          </a:xfrm>
          <a:prstGeom prst="rect">
            <a:avLst/>
          </a:prstGeom>
          <a:solidFill>
            <a:schemeClr val="bg2">
              <a:lumMod val="60000"/>
              <a:lumOff val="40000"/>
            </a:schemeClr>
          </a:solidFill>
          <a:ln>
            <a:noFill/>
          </a:ln>
          <a:effec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500" b="1"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600" b="1" i="0" u="none" strike="noStrike" cap="none" normalizeH="0" baseline="0" dirty="0">
                <a:ln>
                  <a:noFill/>
                </a:ln>
                <a:solidFill>
                  <a:srgbClr val="C00000"/>
                </a:solidFill>
                <a:effectLst/>
                <a:latin typeface="Cambria" panose="02040503050406030204" pitchFamily="18" charset="0"/>
                <a:ea typeface="Cambria" panose="02040503050406030204" pitchFamily="18" charset="0"/>
              </a:rPr>
              <a:t>Team had to overcome several challenges and limitations not limiting to :</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n-US" altLang="en-US" sz="1500" b="1" dirty="0">
                <a:solidFill>
                  <a:schemeClr val="accent3">
                    <a:lumMod val="50000"/>
                  </a:schemeClr>
                </a:solidFill>
                <a:latin typeface="Cambria" panose="02040503050406030204" pitchFamily="18" charset="0"/>
                <a:ea typeface="Cambria" panose="02040503050406030204" pitchFamily="18" charset="0"/>
              </a:rPr>
              <a:t>Managing Knowhow:</a:t>
            </a:r>
            <a:r>
              <a:rPr lang="en-US" altLang="en-US" sz="1500" dirty="0">
                <a:solidFill>
                  <a:schemeClr val="accent3">
                    <a:lumMod val="50000"/>
                  </a:schemeClr>
                </a:solidFill>
                <a:latin typeface="Cambria" panose="02040503050406030204" pitchFamily="18" charset="0"/>
                <a:ea typeface="Cambria" panose="02040503050406030204" pitchFamily="18" charset="0"/>
              </a:rPr>
              <a:t> </a:t>
            </a:r>
            <a:r>
              <a:rPr kumimoji="0" lang="en-US" altLang="en-US" sz="1500"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rPr>
              <a:t>Cumbersome KT process of 30+ manual steps to every new member</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n-US" altLang="en-US" sz="1500" b="1" dirty="0">
                <a:solidFill>
                  <a:schemeClr val="accent3">
                    <a:lumMod val="50000"/>
                  </a:schemeClr>
                </a:solidFill>
                <a:latin typeface="Cambria" panose="02040503050406030204" pitchFamily="18" charset="0"/>
                <a:ea typeface="Cambria" panose="02040503050406030204" pitchFamily="18" charset="0"/>
              </a:rPr>
              <a:t>Tracking Activity:</a:t>
            </a:r>
            <a:r>
              <a:rPr lang="en-US" altLang="en-US" sz="1500" dirty="0">
                <a:solidFill>
                  <a:schemeClr val="accent3">
                    <a:lumMod val="50000"/>
                  </a:schemeClr>
                </a:solidFill>
                <a:latin typeface="Cambria" panose="02040503050406030204" pitchFamily="18" charset="0"/>
                <a:ea typeface="Cambria" panose="02040503050406030204" pitchFamily="18" charset="0"/>
              </a:rPr>
              <a:t> Reports had to be generated manually, daily, by consolidating the numbers from each team member</a:t>
            </a:r>
            <a:endParaRPr kumimoji="0" lang="en-US" altLang="en-US" sz="1500"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500" b="1"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rPr>
              <a:t>Tracking Documents:</a:t>
            </a:r>
            <a:r>
              <a:rPr kumimoji="0" lang="en-US" altLang="en-US" sz="1500"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rPr>
              <a:t> The document reached at Machine Learning had to trace back to its origin, the link between raw and processed was never established.</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n-US" altLang="en-US" sz="1500" b="1" dirty="0">
                <a:solidFill>
                  <a:schemeClr val="accent3">
                    <a:lumMod val="50000"/>
                  </a:schemeClr>
                </a:solidFill>
                <a:latin typeface="Cambria" panose="02040503050406030204" pitchFamily="18" charset="0"/>
                <a:ea typeface="Cambria" panose="02040503050406030204" pitchFamily="18" charset="0"/>
              </a:rPr>
              <a:t>Unorganized Storage:</a:t>
            </a:r>
            <a:r>
              <a:rPr lang="en-US" altLang="en-US" sz="1500" dirty="0">
                <a:solidFill>
                  <a:schemeClr val="accent3">
                    <a:lumMod val="50000"/>
                  </a:schemeClr>
                </a:solidFill>
                <a:latin typeface="Cambria" panose="02040503050406030204" pitchFamily="18" charset="0"/>
                <a:ea typeface="Cambria" panose="02040503050406030204" pitchFamily="18" charset="0"/>
              </a:rPr>
              <a:t> Documents were lying wherever the space was found, across drives, across VMs and across Users.</a:t>
            </a:r>
          </a:p>
        </p:txBody>
      </p:sp>
      <p:sp>
        <p:nvSpPr>
          <p:cNvPr id="7" name="Rectangle 3">
            <a:extLst>
              <a:ext uri="{FF2B5EF4-FFF2-40B4-BE49-F238E27FC236}">
                <a16:creationId xmlns:a16="http://schemas.microsoft.com/office/drawing/2014/main" id="{4BAA2CE4-77BB-4254-A4D6-8286B9782A52}"/>
              </a:ext>
            </a:extLst>
          </p:cNvPr>
          <p:cNvSpPr>
            <a:spLocks noChangeArrowheads="1"/>
          </p:cNvSpPr>
          <p:nvPr/>
        </p:nvSpPr>
        <p:spPr bwMode="auto">
          <a:xfrm>
            <a:off x="777633" y="1573071"/>
            <a:ext cx="10466498" cy="3231654"/>
          </a:xfrm>
          <a:prstGeom prst="rect">
            <a:avLst/>
          </a:prstGeom>
          <a:solidFill>
            <a:schemeClr val="bg1">
              <a:lumMod val="95000"/>
            </a:schemeClr>
          </a:solidFill>
          <a:ln>
            <a:noFill/>
          </a:ln>
          <a:effec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600"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rPr>
              <a:t>Any Machine learning Projects needs huge amount of data for training the Model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600" b="1"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rPr>
              <a:t>To facilitate the continuous demand of data for labelling and model training, Data Bank was started 1.5 years back.</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600" i="0" u="none" strike="noStrike" cap="none" normalizeH="0" baseline="0" dirty="0">
                <a:ln>
                  <a:noFill/>
                </a:ln>
                <a:solidFill>
                  <a:schemeClr val="accent5">
                    <a:lumMod val="75000"/>
                  </a:schemeClr>
                </a:solidFill>
                <a:effectLst/>
                <a:latin typeface="Cambria" panose="02040503050406030204" pitchFamily="18" charset="0"/>
                <a:ea typeface="Cambria" panose="02040503050406030204" pitchFamily="18" charset="0"/>
              </a:rPr>
              <a:t>Nextgen ADR and Nextgen ADE have utilized </a:t>
            </a:r>
            <a:r>
              <a:rPr kumimoji="0" lang="en-US" altLang="en-US" sz="1600" b="1" i="0" u="none" strike="noStrike" cap="none" normalizeH="0" baseline="0" dirty="0">
                <a:ln>
                  <a:noFill/>
                </a:ln>
                <a:solidFill>
                  <a:schemeClr val="accent5">
                    <a:lumMod val="75000"/>
                  </a:schemeClr>
                </a:solidFill>
                <a:effectLst/>
                <a:latin typeface="Cambria" panose="02040503050406030204" pitchFamily="18" charset="0"/>
                <a:ea typeface="Cambria" panose="02040503050406030204" pitchFamily="18" charset="0"/>
              </a:rPr>
              <a:t>55,39,043</a:t>
            </a:r>
            <a:r>
              <a:rPr kumimoji="0" lang="en-US" altLang="en-US" i="0" u="none" strike="noStrike" cap="none" normalizeH="0" baseline="0" dirty="0">
                <a:ln>
                  <a:noFill/>
                </a:ln>
                <a:solidFill>
                  <a:schemeClr val="accent5">
                    <a:lumMod val="75000"/>
                  </a:schemeClr>
                </a:solidFill>
                <a:effectLst/>
                <a:latin typeface="Cambria" panose="02040503050406030204" pitchFamily="18" charset="0"/>
                <a:ea typeface="Cambria" panose="02040503050406030204" pitchFamily="18" charset="0"/>
              </a:rPr>
              <a:t> and </a:t>
            </a:r>
            <a:r>
              <a:rPr kumimoji="0" lang="en-US" altLang="en-US" sz="1600" b="1" i="0" u="none" strike="noStrike" cap="none" normalizeH="0" baseline="0" dirty="0">
                <a:ln>
                  <a:noFill/>
                </a:ln>
                <a:solidFill>
                  <a:schemeClr val="accent5">
                    <a:lumMod val="75000"/>
                  </a:schemeClr>
                </a:solidFill>
                <a:effectLst/>
                <a:latin typeface="Cambria" panose="02040503050406030204" pitchFamily="18" charset="0"/>
                <a:ea typeface="Cambria" panose="02040503050406030204" pitchFamily="18" charset="0"/>
              </a:rPr>
              <a:t>13,77,159</a:t>
            </a:r>
            <a:r>
              <a:rPr kumimoji="0" lang="en-US" altLang="en-US" i="0" u="none" strike="noStrike" cap="none" normalizeH="0" baseline="0" dirty="0">
                <a:ln>
                  <a:noFill/>
                </a:ln>
                <a:solidFill>
                  <a:schemeClr val="accent5">
                    <a:lumMod val="75000"/>
                  </a:schemeClr>
                </a:solidFill>
                <a:effectLst/>
                <a:latin typeface="Cambria" panose="02040503050406030204" pitchFamily="18" charset="0"/>
                <a:ea typeface="Cambria" panose="02040503050406030204" pitchFamily="18" charset="0"/>
              </a:rPr>
              <a:t> respectively</a:t>
            </a:r>
            <a:r>
              <a:rPr kumimoji="0" lang="en-US" altLang="en-US" b="1" i="0" u="none" strike="noStrike" cap="none" normalizeH="0" baseline="0" dirty="0">
                <a:ln>
                  <a:noFill/>
                </a:ln>
                <a:solidFill>
                  <a:schemeClr val="accent5">
                    <a:lumMod val="75000"/>
                  </a:schemeClr>
                </a:solidFill>
                <a:effectLst/>
                <a:latin typeface="Cambria" panose="02040503050406030204" pitchFamily="18" charset="0"/>
                <a:ea typeface="Cambria" panose="02040503050406030204" pitchFamily="18" charset="0"/>
              </a:rPr>
              <a:t> </a:t>
            </a:r>
            <a:r>
              <a:rPr kumimoji="0" lang="en-US" altLang="en-US" sz="1600" i="0" u="none" strike="noStrike" cap="none" normalizeH="0" baseline="0" dirty="0">
                <a:ln>
                  <a:noFill/>
                </a:ln>
                <a:solidFill>
                  <a:schemeClr val="accent5">
                    <a:lumMod val="75000"/>
                  </a:schemeClr>
                </a:solidFill>
                <a:effectLst/>
                <a:latin typeface="Cambria" panose="02040503050406030204" pitchFamily="18" charset="0"/>
                <a:ea typeface="Cambria" panose="02040503050406030204" pitchFamily="18" charset="0"/>
              </a:rPr>
              <a:t>amount of data in past 1.5 Year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600"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rPr>
              <a:t>Initial task of Data Bank was to acquire the data from production site and provide it ML team for preprocessing &amp; post processing further transferring to A51.</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600"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rPr>
              <a:t>Issues with labelImg were increasing hence AIQ was brought into picture</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600" b="1" i="0" u="none" strike="noStrike" cap="none" normalizeH="0" baseline="0" dirty="0">
                <a:ln>
                  <a:noFill/>
                </a:ln>
                <a:solidFill>
                  <a:schemeClr val="accent3">
                    <a:lumMod val="50000"/>
                  </a:schemeClr>
                </a:solidFill>
                <a:effectLst/>
                <a:latin typeface="Cambria" panose="02040503050406030204" pitchFamily="18" charset="0"/>
                <a:ea typeface="Cambria" panose="02040503050406030204" pitchFamily="18" charset="0"/>
              </a:rPr>
              <a:t>Data bank team took the responsibility for setting up the entire data pipeline for using AIQ for labelling proces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600" i="0" u="none" strike="noStrike" cap="none" normalizeH="0" baseline="0" dirty="0">
                <a:ln>
                  <a:noFill/>
                </a:ln>
                <a:solidFill>
                  <a:schemeClr val="accent2">
                    <a:lumMod val="75000"/>
                  </a:schemeClr>
                </a:solidFill>
                <a:effectLst/>
                <a:latin typeface="Cambria" panose="02040503050406030204" pitchFamily="18" charset="0"/>
                <a:ea typeface="Cambria" panose="02040503050406030204" pitchFamily="18" charset="0"/>
              </a:rPr>
              <a:t>This pipeline consisted of 30+ manual steps starting from Data acquisition (i.e., downloading from production site) through preprocessing, Uploading in AIQ, Several Renaming and Classifying documents further till Post Processing until transferring to A51 and confirming the data transfer in A51 using data bricks</a:t>
            </a:r>
          </a:p>
        </p:txBody>
      </p:sp>
    </p:spTree>
    <p:extLst>
      <p:ext uri="{BB962C8B-B14F-4D97-AF65-F5344CB8AC3E}">
        <p14:creationId xmlns:p14="http://schemas.microsoft.com/office/powerpoint/2010/main" val="378977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4962B0F1-C6FE-40D3-8242-75CF4D150398}"/>
              </a:ext>
            </a:extLst>
          </p:cNvPr>
          <p:cNvSpPr>
            <a:spLocks noGrp="1"/>
          </p:cNvSpPr>
          <p:nvPr>
            <p:ph type="sldNum" sz="quarter" idx="12"/>
          </p:nvPr>
        </p:nvSpPr>
        <p:spPr>
          <a:xfrm>
            <a:off x="8698935" y="6496504"/>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A6D9EF2-1078-4CF1-AE32-B8E5CFC7CD9F}" type="slidenum">
              <a:rPr kumimoji="0" lang="en-US" sz="1200" b="0" i="0" u="none" strike="noStrike" kern="1200" cap="none" spc="0" normalizeH="0" baseline="0" noProof="0" smtClean="0">
                <a:ln>
                  <a:noFill/>
                </a:ln>
                <a:solidFill>
                  <a:srgbClr val="5D5F63">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a:t>
            </a:fld>
            <a:endParaRPr kumimoji="0" lang="en-US" sz="1200" b="0" i="0" u="none" strike="noStrike" kern="1200" cap="none" spc="0" normalizeH="0" baseline="0" noProof="0" dirty="0">
              <a:ln>
                <a:noFill/>
              </a:ln>
              <a:solidFill>
                <a:srgbClr val="5D5F63">
                  <a:tint val="75000"/>
                </a:srgbClr>
              </a:solidFill>
              <a:effectLst/>
              <a:uLnTx/>
              <a:uFillTx/>
              <a:latin typeface="Arial"/>
              <a:ea typeface="+mn-ea"/>
              <a:cs typeface="+mn-cs"/>
            </a:endParaRPr>
          </a:p>
        </p:txBody>
      </p:sp>
      <p:sp>
        <p:nvSpPr>
          <p:cNvPr id="5" name="Title 4">
            <a:extLst>
              <a:ext uri="{FF2B5EF4-FFF2-40B4-BE49-F238E27FC236}">
                <a16:creationId xmlns:a16="http://schemas.microsoft.com/office/drawing/2014/main" id="{FCCF3808-435A-4E9D-895A-D83D62BECE10}"/>
              </a:ext>
            </a:extLst>
          </p:cNvPr>
          <p:cNvSpPr>
            <a:spLocks noGrp="1"/>
          </p:cNvSpPr>
          <p:nvPr>
            <p:ph type="title"/>
          </p:nvPr>
        </p:nvSpPr>
        <p:spPr>
          <a:xfrm>
            <a:off x="592072" y="236553"/>
            <a:ext cx="10850063" cy="891682"/>
          </a:xfrm>
        </p:spPr>
        <p:txBody>
          <a:bodyPr>
            <a:normAutofit/>
          </a:bodyPr>
          <a:lstStyle/>
          <a:p>
            <a:r>
              <a:rPr lang="en-US" sz="2400" dirty="0">
                <a:solidFill>
                  <a:schemeClr val="accent2">
                    <a:lumMod val="40000"/>
                    <a:lumOff val="60000"/>
                  </a:schemeClr>
                </a:solidFill>
              </a:rPr>
              <a:t>How Automation Works</a:t>
            </a:r>
          </a:p>
        </p:txBody>
      </p:sp>
      <p:sp>
        <p:nvSpPr>
          <p:cNvPr id="4" name="Rectangle 3">
            <a:extLst>
              <a:ext uri="{FF2B5EF4-FFF2-40B4-BE49-F238E27FC236}">
                <a16:creationId xmlns:a16="http://schemas.microsoft.com/office/drawing/2014/main" id="{EDBB2200-38CA-4846-AC64-2F1F16EDF703}"/>
              </a:ext>
            </a:extLst>
          </p:cNvPr>
          <p:cNvSpPr/>
          <p:nvPr/>
        </p:nvSpPr>
        <p:spPr>
          <a:xfrm>
            <a:off x="592072" y="1767393"/>
            <a:ext cx="1243668" cy="446293"/>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Jira I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Arrives</a:t>
            </a:r>
          </a:p>
        </p:txBody>
      </p:sp>
      <p:sp>
        <p:nvSpPr>
          <p:cNvPr id="6" name="Rectangle 5">
            <a:extLst>
              <a:ext uri="{FF2B5EF4-FFF2-40B4-BE49-F238E27FC236}">
                <a16:creationId xmlns:a16="http://schemas.microsoft.com/office/drawing/2014/main" id="{1F953723-1C94-4E4B-90F7-2D4F5079FB92}"/>
              </a:ext>
            </a:extLst>
          </p:cNvPr>
          <p:cNvSpPr/>
          <p:nvPr/>
        </p:nvSpPr>
        <p:spPr>
          <a:xfrm>
            <a:off x="2198662" y="1767393"/>
            <a:ext cx="1243668" cy="446293"/>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Cre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Environment</a:t>
            </a:r>
          </a:p>
        </p:txBody>
      </p:sp>
      <p:sp>
        <p:nvSpPr>
          <p:cNvPr id="9" name="Rectangle 8">
            <a:extLst>
              <a:ext uri="{FF2B5EF4-FFF2-40B4-BE49-F238E27FC236}">
                <a16:creationId xmlns:a16="http://schemas.microsoft.com/office/drawing/2014/main" id="{8920B67E-138A-430F-83DA-545649857514}"/>
              </a:ext>
            </a:extLst>
          </p:cNvPr>
          <p:cNvSpPr/>
          <p:nvPr/>
        </p:nvSpPr>
        <p:spPr>
          <a:xfrm>
            <a:off x="4138896" y="2901325"/>
            <a:ext cx="2098853" cy="749413"/>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FFFFFF"/>
                </a:solidFill>
                <a:effectLst/>
                <a:uLnTx/>
                <a:uFillTx/>
                <a:latin typeface="Cambria" panose="02040503050406030204" pitchFamily="18" charset="0"/>
                <a:ea typeface="Cambria" panose="02040503050406030204" pitchFamily="18" charset="0"/>
                <a:cs typeface="+mn-cs"/>
              </a:rPr>
              <a:t>JiraID</a:t>
            </a:r>
            <a:r>
              <a:rPr kumimoji="0" lang="en-US" sz="16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 Confi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Configuration file</a:t>
            </a:r>
          </a:p>
        </p:txBody>
      </p:sp>
      <p:sp>
        <p:nvSpPr>
          <p:cNvPr id="10" name="Rectangle 9">
            <a:extLst>
              <a:ext uri="{FF2B5EF4-FFF2-40B4-BE49-F238E27FC236}">
                <a16:creationId xmlns:a16="http://schemas.microsoft.com/office/drawing/2014/main" id="{A06F222B-D7A7-493B-9427-CF7E336E4B14}"/>
              </a:ext>
            </a:extLst>
          </p:cNvPr>
          <p:cNvSpPr/>
          <p:nvPr/>
        </p:nvSpPr>
        <p:spPr>
          <a:xfrm>
            <a:off x="1570107" y="2914187"/>
            <a:ext cx="2506242" cy="736551"/>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D5F63">
                    <a:lumMod val="50000"/>
                  </a:srgbClr>
                </a:solidFill>
                <a:effectLst/>
                <a:uLnTx/>
                <a:uFillTx/>
                <a:latin typeface="Cambria" panose="02040503050406030204" pitchFamily="18" charset="0"/>
                <a:ea typeface="Cambria" panose="02040503050406030204" pitchFamily="18" charset="0"/>
                <a:cs typeface="+mn-cs"/>
              </a:rPr>
              <a:t>JiraID_dwndt_strtdt_enddt</a:t>
            </a:r>
            <a:endPar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Folder struc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As per Pipeline selected</a:t>
            </a:r>
          </a:p>
        </p:txBody>
      </p:sp>
      <p:sp>
        <p:nvSpPr>
          <p:cNvPr id="11" name="Rectangle 10">
            <a:extLst>
              <a:ext uri="{FF2B5EF4-FFF2-40B4-BE49-F238E27FC236}">
                <a16:creationId xmlns:a16="http://schemas.microsoft.com/office/drawing/2014/main" id="{69B292C5-DBE7-4536-AD3B-D55C444CA3F2}"/>
              </a:ext>
            </a:extLst>
          </p:cNvPr>
          <p:cNvSpPr/>
          <p:nvPr/>
        </p:nvSpPr>
        <p:spPr>
          <a:xfrm>
            <a:off x="4138896" y="1782656"/>
            <a:ext cx="2217657" cy="41576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Entry in Jira Master Table</a:t>
            </a:r>
          </a:p>
        </p:txBody>
      </p:sp>
      <p:sp>
        <p:nvSpPr>
          <p:cNvPr id="12" name="Rectangle 11">
            <a:extLst>
              <a:ext uri="{FF2B5EF4-FFF2-40B4-BE49-F238E27FC236}">
                <a16:creationId xmlns:a16="http://schemas.microsoft.com/office/drawing/2014/main" id="{D80BC960-491D-4E73-90ED-7D5036A1D824}"/>
              </a:ext>
            </a:extLst>
          </p:cNvPr>
          <p:cNvSpPr/>
          <p:nvPr/>
        </p:nvSpPr>
        <p:spPr>
          <a:xfrm>
            <a:off x="8413465" y="1276686"/>
            <a:ext cx="1393247" cy="47113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Enable Decryption</a:t>
            </a:r>
          </a:p>
        </p:txBody>
      </p:sp>
      <p:sp>
        <p:nvSpPr>
          <p:cNvPr id="13" name="Rectangle 12">
            <a:extLst>
              <a:ext uri="{FF2B5EF4-FFF2-40B4-BE49-F238E27FC236}">
                <a16:creationId xmlns:a16="http://schemas.microsoft.com/office/drawing/2014/main" id="{C46C1F97-0C9C-475F-BCA9-C1B4BE3D979A}"/>
              </a:ext>
            </a:extLst>
          </p:cNvPr>
          <p:cNvSpPr/>
          <p:nvPr/>
        </p:nvSpPr>
        <p:spPr>
          <a:xfrm>
            <a:off x="8444240" y="1765758"/>
            <a:ext cx="1546568" cy="5700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Enable PreClassification</a:t>
            </a:r>
          </a:p>
        </p:txBody>
      </p:sp>
      <p:sp>
        <p:nvSpPr>
          <p:cNvPr id="14" name="Rectangle 13">
            <a:extLst>
              <a:ext uri="{FF2B5EF4-FFF2-40B4-BE49-F238E27FC236}">
                <a16:creationId xmlns:a16="http://schemas.microsoft.com/office/drawing/2014/main" id="{81C9607A-3104-441C-81C6-B3B428D5E294}"/>
              </a:ext>
            </a:extLst>
          </p:cNvPr>
          <p:cNvSpPr/>
          <p:nvPr/>
        </p:nvSpPr>
        <p:spPr>
          <a:xfrm>
            <a:off x="8444240" y="2395942"/>
            <a:ext cx="1393247" cy="51824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Enable PreRenaming</a:t>
            </a:r>
          </a:p>
        </p:txBody>
      </p:sp>
      <p:sp>
        <p:nvSpPr>
          <p:cNvPr id="15" name="Rectangle 14">
            <a:extLst>
              <a:ext uri="{FF2B5EF4-FFF2-40B4-BE49-F238E27FC236}">
                <a16:creationId xmlns:a16="http://schemas.microsoft.com/office/drawing/2014/main" id="{CA871677-1AB1-4672-8440-1AE962AEF37E}"/>
              </a:ext>
            </a:extLst>
          </p:cNvPr>
          <p:cNvSpPr/>
          <p:nvPr/>
        </p:nvSpPr>
        <p:spPr>
          <a:xfrm>
            <a:off x="8444240" y="2938458"/>
            <a:ext cx="1362472" cy="5697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Enable UploadtoAIQ</a:t>
            </a:r>
          </a:p>
        </p:txBody>
      </p:sp>
      <p:sp>
        <p:nvSpPr>
          <p:cNvPr id="16" name="Rectangle 15">
            <a:extLst>
              <a:ext uri="{FF2B5EF4-FFF2-40B4-BE49-F238E27FC236}">
                <a16:creationId xmlns:a16="http://schemas.microsoft.com/office/drawing/2014/main" id="{597722C3-25E5-44BC-80A0-CB614407F0C5}"/>
              </a:ext>
            </a:extLst>
          </p:cNvPr>
          <p:cNvSpPr/>
          <p:nvPr/>
        </p:nvSpPr>
        <p:spPr>
          <a:xfrm>
            <a:off x="8422145" y="3547803"/>
            <a:ext cx="1393247" cy="51824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Enable ADR A51 Transfer</a:t>
            </a:r>
          </a:p>
        </p:txBody>
      </p:sp>
      <p:sp>
        <p:nvSpPr>
          <p:cNvPr id="17" name="Rectangle 16">
            <a:extLst>
              <a:ext uri="{FF2B5EF4-FFF2-40B4-BE49-F238E27FC236}">
                <a16:creationId xmlns:a16="http://schemas.microsoft.com/office/drawing/2014/main" id="{5306F0AB-DAE0-4DAC-82B0-9903FBD74DDF}"/>
              </a:ext>
            </a:extLst>
          </p:cNvPr>
          <p:cNvSpPr/>
          <p:nvPr/>
        </p:nvSpPr>
        <p:spPr>
          <a:xfrm>
            <a:off x="8422144" y="4126162"/>
            <a:ext cx="1393247" cy="5700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Workable InvalidatedXML</a:t>
            </a:r>
          </a:p>
        </p:txBody>
      </p:sp>
      <p:sp>
        <p:nvSpPr>
          <p:cNvPr id="18" name="Rectangle 17">
            <a:extLst>
              <a:ext uri="{FF2B5EF4-FFF2-40B4-BE49-F238E27FC236}">
                <a16:creationId xmlns:a16="http://schemas.microsoft.com/office/drawing/2014/main" id="{438F6837-B014-4E53-8317-DBDAB617C6D0}"/>
              </a:ext>
            </a:extLst>
          </p:cNvPr>
          <p:cNvSpPr/>
          <p:nvPr/>
        </p:nvSpPr>
        <p:spPr>
          <a:xfrm>
            <a:off x="8422144" y="4732401"/>
            <a:ext cx="1394039" cy="51824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Workable Post Classification</a:t>
            </a:r>
          </a:p>
        </p:txBody>
      </p:sp>
      <p:sp>
        <p:nvSpPr>
          <p:cNvPr id="19" name="Rectangle 18">
            <a:extLst>
              <a:ext uri="{FF2B5EF4-FFF2-40B4-BE49-F238E27FC236}">
                <a16:creationId xmlns:a16="http://schemas.microsoft.com/office/drawing/2014/main" id="{7990BDBB-A24F-467F-89C9-DCB91902DF69}"/>
              </a:ext>
            </a:extLst>
          </p:cNvPr>
          <p:cNvSpPr/>
          <p:nvPr/>
        </p:nvSpPr>
        <p:spPr>
          <a:xfrm>
            <a:off x="8422144" y="5286815"/>
            <a:ext cx="1393247" cy="51824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Workable Post Renaming</a:t>
            </a:r>
          </a:p>
        </p:txBody>
      </p:sp>
      <p:sp>
        <p:nvSpPr>
          <p:cNvPr id="20" name="Rectangle 19">
            <a:extLst>
              <a:ext uri="{FF2B5EF4-FFF2-40B4-BE49-F238E27FC236}">
                <a16:creationId xmlns:a16="http://schemas.microsoft.com/office/drawing/2014/main" id="{ED58DB18-677F-4298-AB74-4CC9966A6C0E}"/>
              </a:ext>
            </a:extLst>
          </p:cNvPr>
          <p:cNvSpPr/>
          <p:nvPr/>
        </p:nvSpPr>
        <p:spPr>
          <a:xfrm>
            <a:off x="8422145" y="5841229"/>
            <a:ext cx="1393247" cy="51824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Workable Postprocessing</a:t>
            </a:r>
          </a:p>
        </p:txBody>
      </p:sp>
      <p:cxnSp>
        <p:nvCxnSpPr>
          <p:cNvPr id="21" name="Straight Arrow Connector 20">
            <a:extLst>
              <a:ext uri="{FF2B5EF4-FFF2-40B4-BE49-F238E27FC236}">
                <a16:creationId xmlns:a16="http://schemas.microsoft.com/office/drawing/2014/main" id="{E8F5CD68-D89E-447E-B9BA-88924B77A094}"/>
              </a:ext>
            </a:extLst>
          </p:cNvPr>
          <p:cNvCxnSpPr>
            <a:stCxn id="4" idx="3"/>
            <a:endCxn id="6" idx="1"/>
          </p:cNvCxnSpPr>
          <p:nvPr/>
        </p:nvCxnSpPr>
        <p:spPr>
          <a:xfrm>
            <a:off x="1835740" y="1990540"/>
            <a:ext cx="362922" cy="0"/>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4" name="Straight Arrow Connector 23">
            <a:extLst>
              <a:ext uri="{FF2B5EF4-FFF2-40B4-BE49-F238E27FC236}">
                <a16:creationId xmlns:a16="http://schemas.microsoft.com/office/drawing/2014/main" id="{EDFCFD17-7C5F-49A5-958E-41F0E7483B67}"/>
              </a:ext>
            </a:extLst>
          </p:cNvPr>
          <p:cNvCxnSpPr>
            <a:stCxn id="6" idx="3"/>
            <a:endCxn id="11" idx="1"/>
          </p:cNvCxnSpPr>
          <p:nvPr/>
        </p:nvCxnSpPr>
        <p:spPr>
          <a:xfrm flipV="1">
            <a:off x="3442330" y="1990539"/>
            <a:ext cx="696566" cy="1"/>
          </a:xfrm>
          <a:prstGeom prst="straightConnector1">
            <a:avLst/>
          </a:prstGeom>
          <a:ln>
            <a:headEnd type="none" w="med" len="med"/>
            <a:tailEnd type="triangle"/>
          </a:ln>
        </p:spPr>
        <p:style>
          <a:lnRef idx="2">
            <a:schemeClr val="accent5">
              <a:shade val="50000"/>
            </a:schemeClr>
          </a:lnRef>
          <a:fillRef idx="1">
            <a:schemeClr val="accent5"/>
          </a:fillRef>
          <a:effectRef idx="0">
            <a:schemeClr val="accent5"/>
          </a:effectRef>
          <a:fontRef idx="minor">
            <a:schemeClr val="lt1"/>
          </a:fontRef>
        </p:style>
      </p:cxnSp>
      <p:cxnSp>
        <p:nvCxnSpPr>
          <p:cNvPr id="26" name="Straight Arrow Connector 25">
            <a:extLst>
              <a:ext uri="{FF2B5EF4-FFF2-40B4-BE49-F238E27FC236}">
                <a16:creationId xmlns:a16="http://schemas.microsoft.com/office/drawing/2014/main" id="{ED1BDF9B-7F61-4B29-AB85-8734AB3F8B8B}"/>
              </a:ext>
            </a:extLst>
          </p:cNvPr>
          <p:cNvCxnSpPr>
            <a:cxnSpLocks/>
            <a:stCxn id="6" idx="3"/>
            <a:endCxn id="9" idx="0"/>
          </p:cNvCxnSpPr>
          <p:nvPr/>
        </p:nvCxnSpPr>
        <p:spPr>
          <a:xfrm>
            <a:off x="3442330" y="1990540"/>
            <a:ext cx="1745993" cy="910785"/>
          </a:xfrm>
          <a:prstGeom prst="straightConnector1">
            <a:avLst/>
          </a:prstGeom>
          <a:ln>
            <a:headEnd type="none" w="med" len="med"/>
            <a:tailEnd type="triangle"/>
          </a:ln>
        </p:spPr>
        <p:style>
          <a:lnRef idx="2">
            <a:schemeClr val="accent5">
              <a:shade val="50000"/>
            </a:schemeClr>
          </a:lnRef>
          <a:fillRef idx="1">
            <a:schemeClr val="accent5"/>
          </a:fillRef>
          <a:effectRef idx="0">
            <a:schemeClr val="accent5"/>
          </a:effectRef>
          <a:fontRef idx="minor">
            <a:schemeClr val="lt1"/>
          </a:fontRef>
        </p:style>
      </p:cxnSp>
      <p:cxnSp>
        <p:nvCxnSpPr>
          <p:cNvPr id="28" name="Straight Arrow Connector 27">
            <a:extLst>
              <a:ext uri="{FF2B5EF4-FFF2-40B4-BE49-F238E27FC236}">
                <a16:creationId xmlns:a16="http://schemas.microsoft.com/office/drawing/2014/main" id="{5231E7E2-EF2F-416C-88F9-4275D73E4F7D}"/>
              </a:ext>
            </a:extLst>
          </p:cNvPr>
          <p:cNvCxnSpPr>
            <a:cxnSpLocks/>
            <a:stCxn id="6" idx="2"/>
            <a:endCxn id="10" idx="0"/>
          </p:cNvCxnSpPr>
          <p:nvPr/>
        </p:nvCxnSpPr>
        <p:spPr>
          <a:xfrm>
            <a:off x="2820496" y="2213686"/>
            <a:ext cx="2732" cy="700501"/>
          </a:xfrm>
          <a:prstGeom prst="straightConnector1">
            <a:avLst/>
          </a:prstGeom>
          <a:ln>
            <a:headEnd type="none" w="med" len="med"/>
            <a:tailEnd type="triangle"/>
          </a:ln>
        </p:spPr>
        <p:style>
          <a:lnRef idx="2">
            <a:schemeClr val="accent5">
              <a:shade val="50000"/>
            </a:schemeClr>
          </a:lnRef>
          <a:fillRef idx="1">
            <a:schemeClr val="accent5"/>
          </a:fillRef>
          <a:effectRef idx="0">
            <a:schemeClr val="accent5"/>
          </a:effectRef>
          <a:fontRef idx="minor">
            <a:schemeClr val="lt1"/>
          </a:fontRef>
        </p:style>
      </p:cxnSp>
      <p:cxnSp>
        <p:nvCxnSpPr>
          <p:cNvPr id="34" name="Straight Arrow Connector 33">
            <a:extLst>
              <a:ext uri="{FF2B5EF4-FFF2-40B4-BE49-F238E27FC236}">
                <a16:creationId xmlns:a16="http://schemas.microsoft.com/office/drawing/2014/main" id="{EBD71773-13AB-411B-8ED2-43C06D87BF24}"/>
              </a:ext>
            </a:extLst>
          </p:cNvPr>
          <p:cNvCxnSpPr>
            <a:stCxn id="9" idx="3"/>
            <a:endCxn id="12" idx="1"/>
          </p:cNvCxnSpPr>
          <p:nvPr/>
        </p:nvCxnSpPr>
        <p:spPr>
          <a:xfrm flipV="1">
            <a:off x="6237749" y="1512252"/>
            <a:ext cx="2175716" cy="176378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Connector 35">
            <a:extLst>
              <a:ext uri="{FF2B5EF4-FFF2-40B4-BE49-F238E27FC236}">
                <a16:creationId xmlns:a16="http://schemas.microsoft.com/office/drawing/2014/main" id="{12E5A87C-9FA1-4AD4-AE79-0511189CD91F}"/>
              </a:ext>
            </a:extLst>
          </p:cNvPr>
          <p:cNvCxnSpPr>
            <a:cxnSpLocks/>
            <a:stCxn id="9" idx="3"/>
            <a:endCxn id="13" idx="1"/>
          </p:cNvCxnSpPr>
          <p:nvPr/>
        </p:nvCxnSpPr>
        <p:spPr>
          <a:xfrm flipV="1">
            <a:off x="6237749" y="2050793"/>
            <a:ext cx="2206491" cy="122523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8" name="Straight Connector 37">
            <a:extLst>
              <a:ext uri="{FF2B5EF4-FFF2-40B4-BE49-F238E27FC236}">
                <a16:creationId xmlns:a16="http://schemas.microsoft.com/office/drawing/2014/main" id="{9494A9CB-8428-4C46-95B3-368F4B1C9B99}"/>
              </a:ext>
            </a:extLst>
          </p:cNvPr>
          <p:cNvCxnSpPr>
            <a:stCxn id="9" idx="3"/>
            <a:endCxn id="14" idx="1"/>
          </p:cNvCxnSpPr>
          <p:nvPr/>
        </p:nvCxnSpPr>
        <p:spPr>
          <a:xfrm flipV="1">
            <a:off x="6237749" y="2655065"/>
            <a:ext cx="2206491" cy="62096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a:extLst>
              <a:ext uri="{FF2B5EF4-FFF2-40B4-BE49-F238E27FC236}">
                <a16:creationId xmlns:a16="http://schemas.microsoft.com/office/drawing/2014/main" id="{519C9C99-8474-4803-BC9B-60A643FE01A2}"/>
              </a:ext>
            </a:extLst>
          </p:cNvPr>
          <p:cNvCxnSpPr>
            <a:stCxn id="9" idx="3"/>
          </p:cNvCxnSpPr>
          <p:nvPr/>
        </p:nvCxnSpPr>
        <p:spPr>
          <a:xfrm flipV="1">
            <a:off x="6237749" y="3206517"/>
            <a:ext cx="2458656" cy="69515"/>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2" name="Straight Connector 41">
            <a:extLst>
              <a:ext uri="{FF2B5EF4-FFF2-40B4-BE49-F238E27FC236}">
                <a16:creationId xmlns:a16="http://schemas.microsoft.com/office/drawing/2014/main" id="{466E1393-6D68-45B2-80FB-73F4D1C2D7B9}"/>
              </a:ext>
            </a:extLst>
          </p:cNvPr>
          <p:cNvCxnSpPr>
            <a:stCxn id="9" idx="3"/>
            <a:endCxn id="16" idx="1"/>
          </p:cNvCxnSpPr>
          <p:nvPr/>
        </p:nvCxnSpPr>
        <p:spPr>
          <a:xfrm>
            <a:off x="6237749" y="3276032"/>
            <a:ext cx="2184396" cy="53089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4" name="Straight Connector 43">
            <a:extLst>
              <a:ext uri="{FF2B5EF4-FFF2-40B4-BE49-F238E27FC236}">
                <a16:creationId xmlns:a16="http://schemas.microsoft.com/office/drawing/2014/main" id="{8FC16389-99E1-42A5-B513-B5C6DFDF4A5F}"/>
              </a:ext>
            </a:extLst>
          </p:cNvPr>
          <p:cNvCxnSpPr>
            <a:stCxn id="9" idx="3"/>
            <a:endCxn id="17" idx="1"/>
          </p:cNvCxnSpPr>
          <p:nvPr/>
        </p:nvCxnSpPr>
        <p:spPr>
          <a:xfrm>
            <a:off x="6237749" y="3276032"/>
            <a:ext cx="2184395" cy="1135165"/>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a:extLst>
              <a:ext uri="{FF2B5EF4-FFF2-40B4-BE49-F238E27FC236}">
                <a16:creationId xmlns:a16="http://schemas.microsoft.com/office/drawing/2014/main" id="{C89DF008-BF3C-4FA5-B8CA-D869B9C1D5FE}"/>
              </a:ext>
            </a:extLst>
          </p:cNvPr>
          <p:cNvCxnSpPr>
            <a:stCxn id="9" idx="3"/>
            <a:endCxn id="18" idx="1"/>
          </p:cNvCxnSpPr>
          <p:nvPr/>
        </p:nvCxnSpPr>
        <p:spPr>
          <a:xfrm>
            <a:off x="6237749" y="3276032"/>
            <a:ext cx="2184395" cy="1715492"/>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E1B01B04-6BE2-4578-A680-F2C33C5CA598}"/>
              </a:ext>
            </a:extLst>
          </p:cNvPr>
          <p:cNvCxnSpPr>
            <a:stCxn id="9" idx="3"/>
            <a:endCxn id="19" idx="1"/>
          </p:cNvCxnSpPr>
          <p:nvPr/>
        </p:nvCxnSpPr>
        <p:spPr>
          <a:xfrm>
            <a:off x="6237749" y="3276032"/>
            <a:ext cx="2184395" cy="2269906"/>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Straight Connector 49">
            <a:extLst>
              <a:ext uri="{FF2B5EF4-FFF2-40B4-BE49-F238E27FC236}">
                <a16:creationId xmlns:a16="http://schemas.microsoft.com/office/drawing/2014/main" id="{BCB5244D-0C94-4BE9-A35D-B28FA3AE3C7C}"/>
              </a:ext>
            </a:extLst>
          </p:cNvPr>
          <p:cNvCxnSpPr>
            <a:stCxn id="9" idx="3"/>
            <a:endCxn id="20" idx="1"/>
          </p:cNvCxnSpPr>
          <p:nvPr/>
        </p:nvCxnSpPr>
        <p:spPr>
          <a:xfrm>
            <a:off x="6237749" y="3276032"/>
            <a:ext cx="2184396" cy="282432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2" name="Arrow: Curved Right 51">
            <a:extLst>
              <a:ext uri="{FF2B5EF4-FFF2-40B4-BE49-F238E27FC236}">
                <a16:creationId xmlns:a16="http://schemas.microsoft.com/office/drawing/2014/main" id="{60D9F397-DD7C-4B05-8C00-392393887580}"/>
              </a:ext>
            </a:extLst>
          </p:cNvPr>
          <p:cNvSpPr/>
          <p:nvPr/>
        </p:nvSpPr>
        <p:spPr>
          <a:xfrm>
            <a:off x="9832097" y="1432008"/>
            <a:ext cx="680221" cy="273636"/>
          </a:xfrm>
          <a:prstGeom prst="curvedRightArrow">
            <a:avLst>
              <a:gd name="adj1" fmla="val 9668"/>
              <a:gd name="adj2" fmla="val 23102"/>
              <a:gd name="adj3" fmla="val 25043"/>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
        <p:nvSpPr>
          <p:cNvPr id="53" name="TextBox 52">
            <a:extLst>
              <a:ext uri="{FF2B5EF4-FFF2-40B4-BE49-F238E27FC236}">
                <a16:creationId xmlns:a16="http://schemas.microsoft.com/office/drawing/2014/main" id="{EDD14504-7688-4094-8A3A-04E37D37E68F}"/>
              </a:ext>
            </a:extLst>
          </p:cNvPr>
          <p:cNvSpPr txBox="1"/>
          <p:nvPr/>
        </p:nvSpPr>
        <p:spPr>
          <a:xfrm>
            <a:off x="10463928" y="1384611"/>
            <a:ext cx="10454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MongoDB</a:t>
            </a:r>
          </a:p>
        </p:txBody>
      </p:sp>
      <p:sp>
        <p:nvSpPr>
          <p:cNvPr id="58" name="Arrow: Curved Right 57">
            <a:extLst>
              <a:ext uri="{FF2B5EF4-FFF2-40B4-BE49-F238E27FC236}">
                <a16:creationId xmlns:a16="http://schemas.microsoft.com/office/drawing/2014/main" id="{90A55AA3-2F74-4919-A52D-73C5F33C51C7}"/>
              </a:ext>
            </a:extLst>
          </p:cNvPr>
          <p:cNvSpPr/>
          <p:nvPr/>
        </p:nvSpPr>
        <p:spPr>
          <a:xfrm>
            <a:off x="10020891" y="1890071"/>
            <a:ext cx="680221" cy="273636"/>
          </a:xfrm>
          <a:prstGeom prst="curvedRightArrow">
            <a:avLst>
              <a:gd name="adj1" fmla="val 9668"/>
              <a:gd name="adj2" fmla="val 23102"/>
              <a:gd name="adj3" fmla="val 25043"/>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
        <p:nvSpPr>
          <p:cNvPr id="59" name="TextBox 58">
            <a:extLst>
              <a:ext uri="{FF2B5EF4-FFF2-40B4-BE49-F238E27FC236}">
                <a16:creationId xmlns:a16="http://schemas.microsoft.com/office/drawing/2014/main" id="{00ADF61B-C149-4859-932B-38465F9F1379}"/>
              </a:ext>
            </a:extLst>
          </p:cNvPr>
          <p:cNvSpPr txBox="1"/>
          <p:nvPr/>
        </p:nvSpPr>
        <p:spPr>
          <a:xfrm>
            <a:off x="10652722" y="1842674"/>
            <a:ext cx="10454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MongoDB</a:t>
            </a:r>
          </a:p>
        </p:txBody>
      </p:sp>
      <p:sp>
        <p:nvSpPr>
          <p:cNvPr id="60" name="Arrow: Curved Right 59">
            <a:extLst>
              <a:ext uri="{FF2B5EF4-FFF2-40B4-BE49-F238E27FC236}">
                <a16:creationId xmlns:a16="http://schemas.microsoft.com/office/drawing/2014/main" id="{A1E3EB25-32A6-4394-9313-91FE7252790B}"/>
              </a:ext>
            </a:extLst>
          </p:cNvPr>
          <p:cNvSpPr/>
          <p:nvPr/>
        </p:nvSpPr>
        <p:spPr>
          <a:xfrm>
            <a:off x="9783707" y="2483410"/>
            <a:ext cx="680221" cy="273636"/>
          </a:xfrm>
          <a:prstGeom prst="curvedRightArrow">
            <a:avLst>
              <a:gd name="adj1" fmla="val 9668"/>
              <a:gd name="adj2" fmla="val 23102"/>
              <a:gd name="adj3" fmla="val 25043"/>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
        <p:nvSpPr>
          <p:cNvPr id="61" name="TextBox 60">
            <a:extLst>
              <a:ext uri="{FF2B5EF4-FFF2-40B4-BE49-F238E27FC236}">
                <a16:creationId xmlns:a16="http://schemas.microsoft.com/office/drawing/2014/main" id="{665A1A72-1FCD-43E3-AF9A-7EA811B152DF}"/>
              </a:ext>
            </a:extLst>
          </p:cNvPr>
          <p:cNvSpPr txBox="1"/>
          <p:nvPr/>
        </p:nvSpPr>
        <p:spPr>
          <a:xfrm>
            <a:off x="10415538" y="2436013"/>
            <a:ext cx="10454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MongoDB</a:t>
            </a:r>
          </a:p>
        </p:txBody>
      </p:sp>
      <p:sp>
        <p:nvSpPr>
          <p:cNvPr id="62" name="Arrow: Curved Right 61">
            <a:extLst>
              <a:ext uri="{FF2B5EF4-FFF2-40B4-BE49-F238E27FC236}">
                <a16:creationId xmlns:a16="http://schemas.microsoft.com/office/drawing/2014/main" id="{35A373F5-6BA3-4379-AC29-8ED8446D9CAA}"/>
              </a:ext>
            </a:extLst>
          </p:cNvPr>
          <p:cNvSpPr/>
          <p:nvPr/>
        </p:nvSpPr>
        <p:spPr>
          <a:xfrm>
            <a:off x="9837487" y="3043926"/>
            <a:ext cx="680221" cy="273636"/>
          </a:xfrm>
          <a:prstGeom prst="curvedRightArrow">
            <a:avLst>
              <a:gd name="adj1" fmla="val 9668"/>
              <a:gd name="adj2" fmla="val 23102"/>
              <a:gd name="adj3" fmla="val 25043"/>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
        <p:nvSpPr>
          <p:cNvPr id="63" name="TextBox 62">
            <a:extLst>
              <a:ext uri="{FF2B5EF4-FFF2-40B4-BE49-F238E27FC236}">
                <a16:creationId xmlns:a16="http://schemas.microsoft.com/office/drawing/2014/main" id="{0020FEFE-63A3-4BD8-9E8E-7455B2DB018B}"/>
              </a:ext>
            </a:extLst>
          </p:cNvPr>
          <p:cNvSpPr txBox="1"/>
          <p:nvPr/>
        </p:nvSpPr>
        <p:spPr>
          <a:xfrm>
            <a:off x="10469318" y="2996529"/>
            <a:ext cx="10454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MongoDB</a:t>
            </a:r>
          </a:p>
        </p:txBody>
      </p:sp>
      <p:sp>
        <p:nvSpPr>
          <p:cNvPr id="64" name="Arrow: Curved Right 63">
            <a:extLst>
              <a:ext uri="{FF2B5EF4-FFF2-40B4-BE49-F238E27FC236}">
                <a16:creationId xmlns:a16="http://schemas.microsoft.com/office/drawing/2014/main" id="{0254AE81-7915-4F95-99A8-A628C878134D}"/>
              </a:ext>
            </a:extLst>
          </p:cNvPr>
          <p:cNvSpPr/>
          <p:nvPr/>
        </p:nvSpPr>
        <p:spPr>
          <a:xfrm>
            <a:off x="9815391" y="3691650"/>
            <a:ext cx="680221" cy="273636"/>
          </a:xfrm>
          <a:prstGeom prst="curvedRightArrow">
            <a:avLst>
              <a:gd name="adj1" fmla="val 9668"/>
              <a:gd name="adj2" fmla="val 23102"/>
              <a:gd name="adj3" fmla="val 25043"/>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
        <p:nvSpPr>
          <p:cNvPr id="65" name="TextBox 64">
            <a:extLst>
              <a:ext uri="{FF2B5EF4-FFF2-40B4-BE49-F238E27FC236}">
                <a16:creationId xmlns:a16="http://schemas.microsoft.com/office/drawing/2014/main" id="{D0986B8F-324E-4B74-AF94-E9871C347F05}"/>
              </a:ext>
            </a:extLst>
          </p:cNvPr>
          <p:cNvSpPr txBox="1"/>
          <p:nvPr/>
        </p:nvSpPr>
        <p:spPr>
          <a:xfrm>
            <a:off x="10447222" y="3644253"/>
            <a:ext cx="10454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MongoDB</a:t>
            </a:r>
          </a:p>
        </p:txBody>
      </p:sp>
      <p:sp>
        <p:nvSpPr>
          <p:cNvPr id="66" name="Arrow: Curved Right 65">
            <a:extLst>
              <a:ext uri="{FF2B5EF4-FFF2-40B4-BE49-F238E27FC236}">
                <a16:creationId xmlns:a16="http://schemas.microsoft.com/office/drawing/2014/main" id="{B0A225CD-1D1E-4AB9-B0A3-202D8C7F161C}"/>
              </a:ext>
            </a:extLst>
          </p:cNvPr>
          <p:cNvSpPr/>
          <p:nvPr/>
        </p:nvSpPr>
        <p:spPr>
          <a:xfrm>
            <a:off x="9815391" y="4277076"/>
            <a:ext cx="680221" cy="273636"/>
          </a:xfrm>
          <a:prstGeom prst="curvedRightArrow">
            <a:avLst>
              <a:gd name="adj1" fmla="val 9668"/>
              <a:gd name="adj2" fmla="val 23102"/>
              <a:gd name="adj3" fmla="val 25043"/>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
        <p:nvSpPr>
          <p:cNvPr id="67" name="TextBox 66">
            <a:extLst>
              <a:ext uri="{FF2B5EF4-FFF2-40B4-BE49-F238E27FC236}">
                <a16:creationId xmlns:a16="http://schemas.microsoft.com/office/drawing/2014/main" id="{C1E35C36-7EF0-40DA-B53E-9F2B4C5A0CA7}"/>
              </a:ext>
            </a:extLst>
          </p:cNvPr>
          <p:cNvSpPr txBox="1"/>
          <p:nvPr/>
        </p:nvSpPr>
        <p:spPr>
          <a:xfrm>
            <a:off x="10447222" y="4229679"/>
            <a:ext cx="10454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MongoDB</a:t>
            </a:r>
          </a:p>
        </p:txBody>
      </p:sp>
      <p:sp>
        <p:nvSpPr>
          <p:cNvPr id="68" name="Arrow: Curved Right 67">
            <a:extLst>
              <a:ext uri="{FF2B5EF4-FFF2-40B4-BE49-F238E27FC236}">
                <a16:creationId xmlns:a16="http://schemas.microsoft.com/office/drawing/2014/main" id="{AC474243-2A2E-4281-BB4A-60B95F2AC6DA}"/>
              </a:ext>
            </a:extLst>
          </p:cNvPr>
          <p:cNvSpPr/>
          <p:nvPr/>
        </p:nvSpPr>
        <p:spPr>
          <a:xfrm>
            <a:off x="9815391" y="4880023"/>
            <a:ext cx="680221" cy="273636"/>
          </a:xfrm>
          <a:prstGeom prst="curvedRightArrow">
            <a:avLst>
              <a:gd name="adj1" fmla="val 9668"/>
              <a:gd name="adj2" fmla="val 23102"/>
              <a:gd name="adj3" fmla="val 25043"/>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
        <p:nvSpPr>
          <p:cNvPr id="69" name="TextBox 68">
            <a:extLst>
              <a:ext uri="{FF2B5EF4-FFF2-40B4-BE49-F238E27FC236}">
                <a16:creationId xmlns:a16="http://schemas.microsoft.com/office/drawing/2014/main" id="{00CAC2BD-5811-4522-9DA9-D60FAE204FB7}"/>
              </a:ext>
            </a:extLst>
          </p:cNvPr>
          <p:cNvSpPr txBox="1"/>
          <p:nvPr/>
        </p:nvSpPr>
        <p:spPr>
          <a:xfrm>
            <a:off x="10447222" y="4832626"/>
            <a:ext cx="10454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MongoDB</a:t>
            </a:r>
          </a:p>
        </p:txBody>
      </p:sp>
      <p:sp>
        <p:nvSpPr>
          <p:cNvPr id="70" name="Arrow: Curved Right 69">
            <a:extLst>
              <a:ext uri="{FF2B5EF4-FFF2-40B4-BE49-F238E27FC236}">
                <a16:creationId xmlns:a16="http://schemas.microsoft.com/office/drawing/2014/main" id="{52F2FFD0-58BC-4A26-ADC5-66FA993E63BA}"/>
              </a:ext>
            </a:extLst>
          </p:cNvPr>
          <p:cNvSpPr/>
          <p:nvPr/>
        </p:nvSpPr>
        <p:spPr>
          <a:xfrm>
            <a:off x="9828087" y="5425618"/>
            <a:ext cx="680221" cy="273636"/>
          </a:xfrm>
          <a:prstGeom prst="curvedRightArrow">
            <a:avLst>
              <a:gd name="adj1" fmla="val 9668"/>
              <a:gd name="adj2" fmla="val 23102"/>
              <a:gd name="adj3" fmla="val 25043"/>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
        <p:nvSpPr>
          <p:cNvPr id="71" name="TextBox 70">
            <a:extLst>
              <a:ext uri="{FF2B5EF4-FFF2-40B4-BE49-F238E27FC236}">
                <a16:creationId xmlns:a16="http://schemas.microsoft.com/office/drawing/2014/main" id="{ACC95316-03BD-4107-BFDD-6A1028F33F38}"/>
              </a:ext>
            </a:extLst>
          </p:cNvPr>
          <p:cNvSpPr txBox="1"/>
          <p:nvPr/>
        </p:nvSpPr>
        <p:spPr>
          <a:xfrm>
            <a:off x="10459918" y="5378221"/>
            <a:ext cx="10454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MongoDB</a:t>
            </a:r>
          </a:p>
        </p:txBody>
      </p:sp>
      <p:sp>
        <p:nvSpPr>
          <p:cNvPr id="72" name="Arrow: Curved Right 71">
            <a:extLst>
              <a:ext uri="{FF2B5EF4-FFF2-40B4-BE49-F238E27FC236}">
                <a16:creationId xmlns:a16="http://schemas.microsoft.com/office/drawing/2014/main" id="{06E8D91A-77BF-4B4E-BDF0-7EFE2D014CA0}"/>
              </a:ext>
            </a:extLst>
          </p:cNvPr>
          <p:cNvSpPr/>
          <p:nvPr/>
        </p:nvSpPr>
        <p:spPr>
          <a:xfrm>
            <a:off x="9828087" y="5946123"/>
            <a:ext cx="680221" cy="273636"/>
          </a:xfrm>
          <a:prstGeom prst="curvedRightArrow">
            <a:avLst>
              <a:gd name="adj1" fmla="val 9668"/>
              <a:gd name="adj2" fmla="val 23102"/>
              <a:gd name="adj3" fmla="val 25043"/>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
        <p:nvSpPr>
          <p:cNvPr id="73" name="TextBox 72">
            <a:extLst>
              <a:ext uri="{FF2B5EF4-FFF2-40B4-BE49-F238E27FC236}">
                <a16:creationId xmlns:a16="http://schemas.microsoft.com/office/drawing/2014/main" id="{9384A31F-2FE1-4FAD-A0E1-937CB113ED37}"/>
              </a:ext>
            </a:extLst>
          </p:cNvPr>
          <p:cNvSpPr txBox="1"/>
          <p:nvPr/>
        </p:nvSpPr>
        <p:spPr>
          <a:xfrm>
            <a:off x="10459918" y="5898726"/>
            <a:ext cx="10454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MongoDB</a:t>
            </a:r>
          </a:p>
        </p:txBody>
      </p:sp>
      <p:sp>
        <p:nvSpPr>
          <p:cNvPr id="74" name="Left Brace 73">
            <a:extLst>
              <a:ext uri="{FF2B5EF4-FFF2-40B4-BE49-F238E27FC236}">
                <a16:creationId xmlns:a16="http://schemas.microsoft.com/office/drawing/2014/main" id="{2CABCB8C-161D-4752-9379-FCDC3A8CF9B0}"/>
              </a:ext>
            </a:extLst>
          </p:cNvPr>
          <p:cNvSpPr/>
          <p:nvPr/>
        </p:nvSpPr>
        <p:spPr>
          <a:xfrm rot="16200000">
            <a:off x="2697722" y="2732727"/>
            <a:ext cx="270697" cy="2217658"/>
          </a:xfrm>
          <a:prstGeom prst="leftBrace">
            <a:avLst>
              <a:gd name="adj1" fmla="val 31722"/>
              <a:gd name="adj2" fmla="val 49264"/>
            </a:avLst>
          </a:prstGeom>
          <a:ln>
            <a:solidFill>
              <a:schemeClr val="tx1">
                <a:lumMod val="50000"/>
              </a:schemeClr>
            </a:solidFill>
            <a:headEnd type="none" w="med" len="med"/>
            <a:tailEnd type="none" w="med" len="med"/>
          </a:ln>
        </p:spPr>
        <p:style>
          <a:lnRef idx="3">
            <a:schemeClr val="dk1"/>
          </a:lnRef>
          <a:fillRef idx="0">
            <a:schemeClr val="dk1"/>
          </a:fillRef>
          <a:effectRef idx="2">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D5F63"/>
              </a:solidFill>
              <a:effectLst/>
              <a:uLnTx/>
              <a:uFillTx/>
              <a:latin typeface="Arial"/>
              <a:ea typeface="+mn-ea"/>
              <a:cs typeface="+mn-cs"/>
            </a:endParaRPr>
          </a:p>
        </p:txBody>
      </p:sp>
      <p:sp>
        <p:nvSpPr>
          <p:cNvPr id="75" name="TextBox 74">
            <a:extLst>
              <a:ext uri="{FF2B5EF4-FFF2-40B4-BE49-F238E27FC236}">
                <a16:creationId xmlns:a16="http://schemas.microsoft.com/office/drawing/2014/main" id="{402B65BA-9C90-42C7-ACB7-3F5FC217974B}"/>
              </a:ext>
            </a:extLst>
          </p:cNvPr>
          <p:cNvSpPr txBox="1"/>
          <p:nvPr/>
        </p:nvSpPr>
        <p:spPr>
          <a:xfrm>
            <a:off x="2069902" y="4032374"/>
            <a:ext cx="149181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D5F63">
                    <a:lumMod val="50000"/>
                  </a:srgbClr>
                </a:solidFill>
                <a:effectLst/>
                <a:uLnTx/>
                <a:uFillTx/>
                <a:latin typeface="Cambria" panose="02040503050406030204" pitchFamily="18" charset="0"/>
                <a:ea typeface="Cambria" panose="02040503050406030204" pitchFamily="18" charset="0"/>
                <a:cs typeface="+mn-cs"/>
              </a:rPr>
              <a:t>Daily Snapshot</a:t>
            </a:r>
          </a:p>
        </p:txBody>
      </p:sp>
      <p:sp>
        <p:nvSpPr>
          <p:cNvPr id="76" name="Rectangle 75">
            <a:extLst>
              <a:ext uri="{FF2B5EF4-FFF2-40B4-BE49-F238E27FC236}">
                <a16:creationId xmlns:a16="http://schemas.microsoft.com/office/drawing/2014/main" id="{33D2D70C-62F4-4674-8E43-AC46ABA5CD35}"/>
              </a:ext>
            </a:extLst>
          </p:cNvPr>
          <p:cNvSpPr/>
          <p:nvPr/>
        </p:nvSpPr>
        <p:spPr>
          <a:xfrm>
            <a:off x="1179230" y="4401382"/>
            <a:ext cx="3377696" cy="11473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MySQL – ET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Source – Stagging – Transform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mn-cs"/>
              </a:rPr>
              <a:t>Tables, Views, Stored Procedures</a:t>
            </a:r>
          </a:p>
        </p:txBody>
      </p:sp>
      <p:sp>
        <p:nvSpPr>
          <p:cNvPr id="87" name="Rectangle: Rounded Corners 86">
            <a:extLst>
              <a:ext uri="{FF2B5EF4-FFF2-40B4-BE49-F238E27FC236}">
                <a16:creationId xmlns:a16="http://schemas.microsoft.com/office/drawing/2014/main" id="{9D3795E5-91D6-49EA-8DEC-8F6856D4BA93}"/>
              </a:ext>
            </a:extLst>
          </p:cNvPr>
          <p:cNvSpPr/>
          <p:nvPr/>
        </p:nvSpPr>
        <p:spPr>
          <a:xfrm>
            <a:off x="8234454" y="1128235"/>
            <a:ext cx="1887644" cy="5368269"/>
          </a:xfrm>
          <a:prstGeom prst="roundRect">
            <a:avLst/>
          </a:prstGeom>
          <a:noFill/>
          <a:ln>
            <a:prstDash val="sysDash"/>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D5F63"/>
              </a:solidFill>
              <a:effectLst/>
              <a:uLnTx/>
              <a:uFillTx/>
              <a:latin typeface="Arial"/>
              <a:ea typeface="+mn-ea"/>
              <a:cs typeface="+mn-cs"/>
            </a:endParaRPr>
          </a:p>
        </p:txBody>
      </p:sp>
    </p:spTree>
    <p:extLst>
      <p:ext uri="{BB962C8B-B14F-4D97-AF65-F5344CB8AC3E}">
        <p14:creationId xmlns:p14="http://schemas.microsoft.com/office/powerpoint/2010/main" val="15325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D3EE25-05B3-4D48-A7B5-DF9DA32153C0}"/>
              </a:ext>
            </a:extLst>
          </p:cNvPr>
          <p:cNvSpPr>
            <a:spLocks noGrp="1"/>
          </p:cNvSpPr>
          <p:nvPr>
            <p:ph type="sldNum" sz="quarter" idx="12"/>
          </p:nvPr>
        </p:nvSpPr>
        <p:spPr/>
        <p:txBody>
          <a:bodyPr/>
          <a:lstStyle/>
          <a:p>
            <a:fld id="{8A6D9EF2-1078-4CF1-AE32-B8E5CFC7CD9F}" type="slidenum">
              <a:rPr lang="en-US" smtClean="0"/>
              <a:pPr/>
              <a:t>5</a:t>
            </a:fld>
            <a:endParaRPr lang="en-US" dirty="0"/>
          </a:p>
        </p:txBody>
      </p:sp>
      <p:sp>
        <p:nvSpPr>
          <p:cNvPr id="5" name="Title 4">
            <a:extLst>
              <a:ext uri="{FF2B5EF4-FFF2-40B4-BE49-F238E27FC236}">
                <a16:creationId xmlns:a16="http://schemas.microsoft.com/office/drawing/2014/main" id="{25B277E9-5748-449B-94AB-FB9426EDB5AA}"/>
              </a:ext>
            </a:extLst>
          </p:cNvPr>
          <p:cNvSpPr>
            <a:spLocks noGrp="1"/>
          </p:cNvSpPr>
          <p:nvPr>
            <p:ph type="title"/>
          </p:nvPr>
        </p:nvSpPr>
        <p:spPr>
          <a:xfrm>
            <a:off x="673995" y="696531"/>
            <a:ext cx="10844009" cy="2852737"/>
          </a:xfrm>
        </p:spPr>
        <p:txBody>
          <a:bodyPr/>
          <a:lstStyle/>
          <a:p>
            <a:r>
              <a:rPr lang="en-US" dirty="0"/>
              <a:t>Feature Deck</a:t>
            </a:r>
            <a:endParaRPr lang="en-IN" b="1" dirty="0"/>
          </a:p>
        </p:txBody>
      </p:sp>
    </p:spTree>
    <p:extLst>
      <p:ext uri="{BB962C8B-B14F-4D97-AF65-F5344CB8AC3E}">
        <p14:creationId xmlns:p14="http://schemas.microsoft.com/office/powerpoint/2010/main" val="156523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FCCF3808-435A-4E9D-895A-D83D62BECE10}"/>
              </a:ext>
            </a:extLst>
          </p:cNvPr>
          <p:cNvSpPr>
            <a:spLocks noGrp="1"/>
          </p:cNvSpPr>
          <p:nvPr>
            <p:ph type="title"/>
          </p:nvPr>
        </p:nvSpPr>
        <p:spPr>
          <a:xfrm>
            <a:off x="609978" y="138621"/>
            <a:ext cx="10850063" cy="891682"/>
          </a:xfrm>
        </p:spPr>
        <p:txBody>
          <a:bodyPr>
            <a:normAutofit/>
          </a:bodyPr>
          <a:lstStyle/>
          <a:p>
            <a:r>
              <a:rPr lang="en-US" sz="2400" dirty="0">
                <a:solidFill>
                  <a:schemeClr val="accent2">
                    <a:lumMod val="40000"/>
                    <a:lumOff val="60000"/>
                  </a:schemeClr>
                </a:solidFill>
              </a:rPr>
              <a:t>Ease of Setup and Maintenance</a:t>
            </a:r>
          </a:p>
        </p:txBody>
      </p:sp>
      <p:sp>
        <p:nvSpPr>
          <p:cNvPr id="20" name="TextBox 19">
            <a:extLst>
              <a:ext uri="{FF2B5EF4-FFF2-40B4-BE49-F238E27FC236}">
                <a16:creationId xmlns:a16="http://schemas.microsoft.com/office/drawing/2014/main" id="{4677EBED-214A-4EE4-A0BA-DB1E14CBF4BD}"/>
              </a:ext>
            </a:extLst>
          </p:cNvPr>
          <p:cNvSpPr txBox="1"/>
          <p:nvPr/>
        </p:nvSpPr>
        <p:spPr>
          <a:xfrm>
            <a:off x="749865" y="1504964"/>
            <a:ext cx="3603691" cy="369332"/>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1800" i="0" u="none" strike="noStrike" cap="none" normalizeH="0" baseline="0" dirty="0">
                <a:ln>
                  <a:noFill/>
                </a:ln>
                <a:solidFill>
                  <a:schemeClr val="accent3">
                    <a:lumMod val="50000"/>
                  </a:schemeClr>
                </a:solidFill>
                <a:effectLst/>
                <a:latin typeface="Britannic Bold" panose="020B0903060703020204" pitchFamily="34" charset="0"/>
                <a:ea typeface="Cambria" panose="02040503050406030204" pitchFamily="18" charset="0"/>
              </a:rPr>
              <a:t>Configuration Driven Framework</a:t>
            </a:r>
          </a:p>
        </p:txBody>
      </p:sp>
      <p:graphicFrame>
        <p:nvGraphicFramePr>
          <p:cNvPr id="4" name="Diagram 3">
            <a:extLst>
              <a:ext uri="{FF2B5EF4-FFF2-40B4-BE49-F238E27FC236}">
                <a16:creationId xmlns:a16="http://schemas.microsoft.com/office/drawing/2014/main" id="{EB0AD747-0F39-4696-A515-302A44A5EDBB}"/>
              </a:ext>
            </a:extLst>
          </p:cNvPr>
          <p:cNvGraphicFramePr/>
          <p:nvPr>
            <p:extLst>
              <p:ext uri="{D42A27DB-BD31-4B8C-83A1-F6EECF244321}">
                <p14:modId xmlns:p14="http://schemas.microsoft.com/office/powerpoint/2010/main" val="2176218275"/>
              </p:ext>
            </p:extLst>
          </p:nvPr>
        </p:nvGraphicFramePr>
        <p:xfrm>
          <a:off x="726642" y="1891368"/>
          <a:ext cx="6256958" cy="39641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Oval 6">
            <a:extLst>
              <a:ext uri="{FF2B5EF4-FFF2-40B4-BE49-F238E27FC236}">
                <a16:creationId xmlns:a16="http://schemas.microsoft.com/office/drawing/2014/main" id="{9BB1477D-2350-49E7-B0CD-16B109BA14F8}"/>
              </a:ext>
            </a:extLst>
          </p:cNvPr>
          <p:cNvSpPr/>
          <p:nvPr/>
        </p:nvSpPr>
        <p:spPr>
          <a:xfrm>
            <a:off x="5272743" y="4605072"/>
            <a:ext cx="1311455" cy="7037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mbria" panose="02040503050406030204" pitchFamily="18" charset="0"/>
                <a:ea typeface="Cambria" panose="02040503050406030204" pitchFamily="18" charset="0"/>
              </a:rPr>
              <a:t>Pipeline Scripts</a:t>
            </a:r>
          </a:p>
        </p:txBody>
      </p:sp>
      <p:sp>
        <p:nvSpPr>
          <p:cNvPr id="36" name="TextBox 35">
            <a:extLst>
              <a:ext uri="{FF2B5EF4-FFF2-40B4-BE49-F238E27FC236}">
                <a16:creationId xmlns:a16="http://schemas.microsoft.com/office/drawing/2014/main" id="{42093E30-5E8E-4B31-B52B-98448FAFF993}"/>
              </a:ext>
            </a:extLst>
          </p:cNvPr>
          <p:cNvSpPr txBox="1"/>
          <p:nvPr/>
        </p:nvSpPr>
        <p:spPr>
          <a:xfrm>
            <a:off x="573178" y="1007162"/>
            <a:ext cx="9205338" cy="369332"/>
          </a:xfrm>
          <a:prstGeom prst="rect">
            <a:avLst/>
          </a:prstGeom>
          <a:noFill/>
        </p:spPr>
        <p:txBody>
          <a:bodyPr wrap="square" rtlCol="0">
            <a:spAutoFit/>
          </a:bodyPr>
          <a:lstStyle/>
          <a:p>
            <a:r>
              <a:rPr lang="en-US" dirty="0">
                <a:solidFill>
                  <a:srgbClr val="FFFF00"/>
                </a:solidFill>
              </a:rPr>
              <a:t>Isolated and Independent Resources for Data Processing</a:t>
            </a:r>
          </a:p>
        </p:txBody>
      </p:sp>
      <p:sp>
        <p:nvSpPr>
          <p:cNvPr id="37" name="Oval 36">
            <a:extLst>
              <a:ext uri="{FF2B5EF4-FFF2-40B4-BE49-F238E27FC236}">
                <a16:creationId xmlns:a16="http://schemas.microsoft.com/office/drawing/2014/main" id="{EA371D24-3495-4274-A39C-B2DB2AE089EA}"/>
              </a:ext>
            </a:extLst>
          </p:cNvPr>
          <p:cNvSpPr/>
          <p:nvPr/>
        </p:nvSpPr>
        <p:spPr>
          <a:xfrm>
            <a:off x="2809415" y="4507797"/>
            <a:ext cx="1311456" cy="6174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mbria" panose="02040503050406030204" pitchFamily="18" charset="0"/>
                <a:ea typeface="Cambria" panose="02040503050406030204" pitchFamily="18" charset="0"/>
              </a:rPr>
              <a:t>Setup Scripts</a:t>
            </a:r>
          </a:p>
        </p:txBody>
      </p:sp>
      <p:sp>
        <p:nvSpPr>
          <p:cNvPr id="38" name="Oval 37">
            <a:extLst>
              <a:ext uri="{FF2B5EF4-FFF2-40B4-BE49-F238E27FC236}">
                <a16:creationId xmlns:a16="http://schemas.microsoft.com/office/drawing/2014/main" id="{5B94B86A-1CD9-40D6-9FDB-CEB07B8A70CA}"/>
              </a:ext>
            </a:extLst>
          </p:cNvPr>
          <p:cNvSpPr/>
          <p:nvPr/>
        </p:nvSpPr>
        <p:spPr>
          <a:xfrm>
            <a:off x="2832791" y="5921771"/>
            <a:ext cx="2327334" cy="5776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mbria" panose="02040503050406030204" pitchFamily="18" charset="0"/>
                <a:ea typeface="Cambria" panose="02040503050406030204" pitchFamily="18" charset="0"/>
              </a:rPr>
              <a:t>Setup and Snapshot Scripts</a:t>
            </a:r>
          </a:p>
        </p:txBody>
      </p:sp>
      <p:cxnSp>
        <p:nvCxnSpPr>
          <p:cNvPr id="44" name="Straight Arrow Connector 43">
            <a:extLst>
              <a:ext uri="{FF2B5EF4-FFF2-40B4-BE49-F238E27FC236}">
                <a16:creationId xmlns:a16="http://schemas.microsoft.com/office/drawing/2014/main" id="{76913028-1287-4D1A-9EDB-BF8EBFAFD7AC}"/>
              </a:ext>
            </a:extLst>
          </p:cNvPr>
          <p:cNvCxnSpPr>
            <a:cxnSpLocks/>
            <a:endCxn id="37" idx="1"/>
          </p:cNvCxnSpPr>
          <p:nvPr/>
        </p:nvCxnSpPr>
        <p:spPr>
          <a:xfrm>
            <a:off x="2532530" y="4020331"/>
            <a:ext cx="468943" cy="577884"/>
          </a:xfrm>
          <a:prstGeom prst="straightConnector1">
            <a:avLst/>
          </a:prstGeom>
          <a:ln w="25400" cap="flat" cmpd="sng" algn="ctr">
            <a:solidFill>
              <a:schemeClr val="bg2"/>
            </a:solidFill>
            <a:prstDash val="solid"/>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C1C8D602-DDA9-49E1-B5B9-B8B42CF5B209}"/>
              </a:ext>
            </a:extLst>
          </p:cNvPr>
          <p:cNvSpPr/>
          <p:nvPr/>
        </p:nvSpPr>
        <p:spPr>
          <a:xfrm>
            <a:off x="2809416" y="5219823"/>
            <a:ext cx="1311455" cy="6007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mbria" panose="02040503050406030204" pitchFamily="18" charset="0"/>
                <a:ea typeface="Cambria" panose="02040503050406030204" pitchFamily="18" charset="0"/>
              </a:rPr>
              <a:t>Process Scripts</a:t>
            </a:r>
          </a:p>
        </p:txBody>
      </p:sp>
      <p:cxnSp>
        <p:nvCxnSpPr>
          <p:cNvPr id="50" name="Straight Arrow Connector 49">
            <a:extLst>
              <a:ext uri="{FF2B5EF4-FFF2-40B4-BE49-F238E27FC236}">
                <a16:creationId xmlns:a16="http://schemas.microsoft.com/office/drawing/2014/main" id="{917BE29D-ACCF-4CFA-8C0C-435BB35A6CCC}"/>
              </a:ext>
            </a:extLst>
          </p:cNvPr>
          <p:cNvCxnSpPr>
            <a:cxnSpLocks/>
            <a:endCxn id="48" idx="2"/>
          </p:cNvCxnSpPr>
          <p:nvPr/>
        </p:nvCxnSpPr>
        <p:spPr>
          <a:xfrm>
            <a:off x="2386119" y="5022983"/>
            <a:ext cx="423297" cy="497190"/>
          </a:xfrm>
          <a:prstGeom prst="straightConnector1">
            <a:avLst/>
          </a:prstGeom>
          <a:ln w="25400" cap="flat" cmpd="sng" algn="ctr">
            <a:solidFill>
              <a:schemeClr val="bg2"/>
            </a:solidFill>
            <a:prstDash val="solid"/>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Color image cartoon top view hands typing Vector Image">
            <a:extLst>
              <a:ext uri="{FF2B5EF4-FFF2-40B4-BE49-F238E27FC236}">
                <a16:creationId xmlns:a16="http://schemas.microsoft.com/office/drawing/2014/main" id="{F54519B9-20EB-4726-8583-94F8CBE6B7B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20840"/>
          <a:stretch/>
        </p:blipFill>
        <p:spPr bwMode="auto">
          <a:xfrm>
            <a:off x="8642734" y="2100122"/>
            <a:ext cx="1700159" cy="160080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6456C675-D1F7-40AE-8401-7B0019BADD58}"/>
              </a:ext>
            </a:extLst>
          </p:cNvPr>
          <p:cNvSpPr txBox="1"/>
          <p:nvPr/>
        </p:nvSpPr>
        <p:spPr>
          <a:xfrm>
            <a:off x="7348896" y="1488551"/>
            <a:ext cx="4287837" cy="369332"/>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1800" i="0" u="none" strike="noStrike" cap="none" normalizeH="0" baseline="0" dirty="0">
                <a:ln>
                  <a:noFill/>
                </a:ln>
                <a:solidFill>
                  <a:schemeClr val="accent3">
                    <a:lumMod val="50000"/>
                  </a:schemeClr>
                </a:solidFill>
                <a:effectLst/>
                <a:latin typeface="Britannic Bold" panose="020B0903060703020204" pitchFamily="34" charset="0"/>
                <a:ea typeface="Cambria" panose="02040503050406030204" pitchFamily="18" charset="0"/>
              </a:rPr>
              <a:t>Single Parameter Process Executions</a:t>
            </a:r>
          </a:p>
        </p:txBody>
      </p:sp>
      <p:sp>
        <p:nvSpPr>
          <p:cNvPr id="2" name="TextBox 1">
            <a:extLst>
              <a:ext uri="{FF2B5EF4-FFF2-40B4-BE49-F238E27FC236}">
                <a16:creationId xmlns:a16="http://schemas.microsoft.com/office/drawing/2014/main" id="{3569F5F9-D1B8-4385-9140-38DC3A27CA05}"/>
              </a:ext>
            </a:extLst>
          </p:cNvPr>
          <p:cNvSpPr txBox="1"/>
          <p:nvPr/>
        </p:nvSpPr>
        <p:spPr>
          <a:xfrm>
            <a:off x="8750752" y="2140814"/>
            <a:ext cx="1484124" cy="369332"/>
          </a:xfrm>
          <a:prstGeom prst="rect">
            <a:avLst/>
          </a:prstGeom>
          <a:noFill/>
        </p:spPr>
        <p:txBody>
          <a:bodyPr wrap="none" rtlCol="0">
            <a:spAutoFit/>
          </a:bodyPr>
          <a:lstStyle/>
          <a:p>
            <a:r>
              <a:rPr lang="en-US" dirty="0">
                <a:solidFill>
                  <a:schemeClr val="tx2">
                    <a:lumMod val="50000"/>
                  </a:schemeClr>
                </a:solidFill>
              </a:rPr>
              <a:t>Just </a:t>
            </a:r>
            <a:r>
              <a:rPr lang="en-US" b="1" dirty="0">
                <a:solidFill>
                  <a:schemeClr val="tx2">
                    <a:lumMod val="50000"/>
                  </a:schemeClr>
                </a:solidFill>
              </a:rPr>
              <a:t>JIRA ID</a:t>
            </a:r>
          </a:p>
        </p:txBody>
      </p:sp>
      <p:sp>
        <p:nvSpPr>
          <p:cNvPr id="21" name="TextBox 20">
            <a:extLst>
              <a:ext uri="{FF2B5EF4-FFF2-40B4-BE49-F238E27FC236}">
                <a16:creationId xmlns:a16="http://schemas.microsoft.com/office/drawing/2014/main" id="{C16A41DE-683B-4958-BB52-AD636BA0A37C}"/>
              </a:ext>
            </a:extLst>
          </p:cNvPr>
          <p:cNvSpPr txBox="1"/>
          <p:nvPr/>
        </p:nvSpPr>
        <p:spPr>
          <a:xfrm>
            <a:off x="7348896" y="3987437"/>
            <a:ext cx="4287837" cy="369332"/>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1800" i="0" u="none" strike="noStrike" cap="none" normalizeH="0" baseline="0" dirty="0">
                <a:ln>
                  <a:noFill/>
                </a:ln>
                <a:solidFill>
                  <a:schemeClr val="accent3">
                    <a:lumMod val="50000"/>
                  </a:schemeClr>
                </a:solidFill>
                <a:effectLst/>
                <a:latin typeface="Britannic Bold" panose="020B0903060703020204" pitchFamily="34" charset="0"/>
                <a:ea typeface="Cambria" panose="02040503050406030204" pitchFamily="18" charset="0"/>
              </a:rPr>
              <a:t>Dedicated Workspace Per JIRA Ticket</a:t>
            </a:r>
          </a:p>
        </p:txBody>
      </p:sp>
      <p:graphicFrame>
        <p:nvGraphicFramePr>
          <p:cNvPr id="3" name="Diagram 2">
            <a:extLst>
              <a:ext uri="{FF2B5EF4-FFF2-40B4-BE49-F238E27FC236}">
                <a16:creationId xmlns:a16="http://schemas.microsoft.com/office/drawing/2014/main" id="{E83131F0-2375-4ABB-A79F-F6C188370F81}"/>
              </a:ext>
            </a:extLst>
          </p:cNvPr>
          <p:cNvGraphicFramePr/>
          <p:nvPr>
            <p:extLst>
              <p:ext uri="{D42A27DB-BD31-4B8C-83A1-F6EECF244321}">
                <p14:modId xmlns:p14="http://schemas.microsoft.com/office/powerpoint/2010/main" val="2563219779"/>
              </p:ext>
            </p:extLst>
          </p:nvPr>
        </p:nvGraphicFramePr>
        <p:xfrm>
          <a:off x="7337791" y="4361542"/>
          <a:ext cx="4064000" cy="200890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11" name="Straight Arrow Connector 10">
            <a:extLst>
              <a:ext uri="{FF2B5EF4-FFF2-40B4-BE49-F238E27FC236}">
                <a16:creationId xmlns:a16="http://schemas.microsoft.com/office/drawing/2014/main" id="{985E82A6-8AC6-41EF-940B-C714E206DDD9}"/>
              </a:ext>
            </a:extLst>
          </p:cNvPr>
          <p:cNvCxnSpPr>
            <a:cxnSpLocks/>
            <a:endCxn id="38" idx="2"/>
          </p:cNvCxnSpPr>
          <p:nvPr/>
        </p:nvCxnSpPr>
        <p:spPr>
          <a:xfrm>
            <a:off x="2386119" y="5882372"/>
            <a:ext cx="446672" cy="328218"/>
          </a:xfrm>
          <a:prstGeom prst="straightConnector1">
            <a:avLst/>
          </a:prstGeom>
          <a:ln w="25400" cap="flat" cmpd="sng" algn="ctr">
            <a:solidFill>
              <a:schemeClr val="bg2"/>
            </a:solidFill>
            <a:prstDash val="solid"/>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Left Brace 11">
            <a:extLst>
              <a:ext uri="{FF2B5EF4-FFF2-40B4-BE49-F238E27FC236}">
                <a16:creationId xmlns:a16="http://schemas.microsoft.com/office/drawing/2014/main" id="{C8DC502A-E174-481E-9B6E-105D32C6CD10}"/>
              </a:ext>
            </a:extLst>
          </p:cNvPr>
          <p:cNvSpPr/>
          <p:nvPr/>
        </p:nvSpPr>
        <p:spPr>
          <a:xfrm rot="16200000">
            <a:off x="4811777" y="2966654"/>
            <a:ext cx="352880" cy="2849186"/>
          </a:xfrm>
          <a:prstGeom prst="leftBrace">
            <a:avLst>
              <a:gd name="adj1" fmla="val 8333"/>
              <a:gd name="adj2" fmla="val 83575"/>
            </a:avLst>
          </a:prstGeom>
          <a:ln>
            <a:headEnd type="none" w="med" len="med"/>
            <a:tailEnd type="none" w="med" len="med"/>
          </a:ln>
        </p:spPr>
        <p:style>
          <a:lnRef idx="3">
            <a:schemeClr val="dk1"/>
          </a:lnRef>
          <a:fillRef idx="0">
            <a:schemeClr val="dk1"/>
          </a:fillRef>
          <a:effectRef idx="2">
            <a:schemeClr val="dk1"/>
          </a:effectRef>
          <a:fontRef idx="minor">
            <a:schemeClr val="tx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03744F34-1F9E-42A3-A158-EB458AFCAA9E}"/>
              </a:ext>
            </a:extLst>
          </p:cNvPr>
          <p:cNvSpPr/>
          <p:nvPr/>
        </p:nvSpPr>
        <p:spPr>
          <a:xfrm>
            <a:off x="726642" y="1488551"/>
            <a:ext cx="6256958" cy="5088837"/>
          </a:xfrm>
          <a:prstGeom prst="roundRect">
            <a:avLst>
              <a:gd name="adj" fmla="val 4780"/>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
        <p:nvSpPr>
          <p:cNvPr id="34" name="Rectangle: Rounded Corners 33">
            <a:extLst>
              <a:ext uri="{FF2B5EF4-FFF2-40B4-BE49-F238E27FC236}">
                <a16:creationId xmlns:a16="http://schemas.microsoft.com/office/drawing/2014/main" id="{C351D7B0-1E90-479B-9D29-5172D8297274}"/>
              </a:ext>
            </a:extLst>
          </p:cNvPr>
          <p:cNvSpPr/>
          <p:nvPr/>
        </p:nvSpPr>
        <p:spPr>
          <a:xfrm>
            <a:off x="7086025" y="1488551"/>
            <a:ext cx="4374016" cy="2392473"/>
          </a:xfrm>
          <a:prstGeom prst="roundRect">
            <a:avLst>
              <a:gd name="adj" fmla="val 10787"/>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dirty="0"/>
          </a:p>
        </p:txBody>
      </p:sp>
      <p:sp>
        <p:nvSpPr>
          <p:cNvPr id="35" name="Rectangle: Rounded Corners 34">
            <a:extLst>
              <a:ext uri="{FF2B5EF4-FFF2-40B4-BE49-F238E27FC236}">
                <a16:creationId xmlns:a16="http://schemas.microsoft.com/office/drawing/2014/main" id="{B057608A-877E-46DB-BAA9-93149167C941}"/>
              </a:ext>
            </a:extLst>
          </p:cNvPr>
          <p:cNvSpPr/>
          <p:nvPr/>
        </p:nvSpPr>
        <p:spPr>
          <a:xfrm>
            <a:off x="7086025" y="3987437"/>
            <a:ext cx="4374016" cy="2589951"/>
          </a:xfrm>
          <a:prstGeom prst="roundRect">
            <a:avLst>
              <a:gd name="adj" fmla="val 6890"/>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dirty="0"/>
          </a:p>
        </p:txBody>
      </p:sp>
    </p:spTree>
    <p:extLst>
      <p:ext uri="{BB962C8B-B14F-4D97-AF65-F5344CB8AC3E}">
        <p14:creationId xmlns:p14="http://schemas.microsoft.com/office/powerpoint/2010/main" val="409508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FCCF3808-435A-4E9D-895A-D83D62BECE10}"/>
              </a:ext>
            </a:extLst>
          </p:cNvPr>
          <p:cNvSpPr>
            <a:spLocks noGrp="1"/>
          </p:cNvSpPr>
          <p:nvPr>
            <p:ph type="title"/>
          </p:nvPr>
        </p:nvSpPr>
        <p:spPr>
          <a:xfrm>
            <a:off x="592072" y="264688"/>
            <a:ext cx="10850063" cy="891682"/>
          </a:xfrm>
        </p:spPr>
        <p:txBody>
          <a:bodyPr>
            <a:normAutofit/>
          </a:bodyPr>
          <a:lstStyle/>
          <a:p>
            <a:r>
              <a:rPr lang="en-US" sz="2400" dirty="0">
                <a:solidFill>
                  <a:schemeClr val="accent2">
                    <a:lumMod val="40000"/>
                    <a:lumOff val="60000"/>
                  </a:schemeClr>
                </a:solidFill>
              </a:rPr>
              <a:t>Less Manual Intervention</a:t>
            </a:r>
          </a:p>
        </p:txBody>
      </p:sp>
      <p:pic>
        <p:nvPicPr>
          <p:cNvPr id="10" name="Picture 9">
            <a:extLst>
              <a:ext uri="{FF2B5EF4-FFF2-40B4-BE49-F238E27FC236}">
                <a16:creationId xmlns:a16="http://schemas.microsoft.com/office/drawing/2014/main" id="{9E48CF47-E71E-4FAD-AF3D-1167C39F260D}"/>
              </a:ext>
            </a:extLst>
          </p:cNvPr>
          <p:cNvPicPr>
            <a:picLocks noChangeAspect="1"/>
          </p:cNvPicPr>
          <p:nvPr/>
        </p:nvPicPr>
        <p:blipFill>
          <a:blip r:embed="rId2"/>
          <a:stretch>
            <a:fillRect/>
          </a:stretch>
        </p:blipFill>
        <p:spPr>
          <a:xfrm>
            <a:off x="749865" y="2629220"/>
            <a:ext cx="2914650" cy="3581400"/>
          </a:xfrm>
          <a:prstGeom prst="rect">
            <a:avLst/>
          </a:prstGeom>
        </p:spPr>
      </p:pic>
      <p:sp>
        <p:nvSpPr>
          <p:cNvPr id="13" name="TextBox 12">
            <a:extLst>
              <a:ext uri="{FF2B5EF4-FFF2-40B4-BE49-F238E27FC236}">
                <a16:creationId xmlns:a16="http://schemas.microsoft.com/office/drawing/2014/main" id="{6891395F-6C14-4864-98C2-05007FF5FE9C}"/>
              </a:ext>
            </a:extLst>
          </p:cNvPr>
          <p:cNvSpPr txBox="1"/>
          <p:nvPr/>
        </p:nvSpPr>
        <p:spPr>
          <a:xfrm>
            <a:off x="749865" y="1807162"/>
            <a:ext cx="2772070" cy="646331"/>
          </a:xfrm>
          <a:prstGeom prst="rect">
            <a:avLst/>
          </a:prstGeom>
          <a:noFill/>
        </p:spPr>
        <p:txBody>
          <a:bodyPr wrap="square">
            <a:spAutoFit/>
          </a:bodyPr>
          <a:lstStyle/>
          <a:p>
            <a:pPr marR="0" lvl="0" algn="ctr" defTabSz="914400" rtl="0" eaLnBrk="0" fontAlgn="base" latinLnBrk="0" hangingPunct="0">
              <a:lnSpc>
                <a:spcPct val="100000"/>
              </a:lnSpc>
              <a:spcBef>
                <a:spcPct val="0"/>
              </a:spcBef>
              <a:spcAft>
                <a:spcPct val="0"/>
              </a:spcAft>
              <a:buClrTx/>
              <a:buSzTx/>
              <a:tabLst/>
            </a:pPr>
            <a:r>
              <a:rPr kumimoji="0" lang="en-US" altLang="en-US" sz="1800" i="0" u="none" strike="noStrike" cap="none" normalizeH="0" baseline="0" dirty="0">
                <a:ln>
                  <a:noFill/>
                </a:ln>
                <a:solidFill>
                  <a:schemeClr val="accent3">
                    <a:lumMod val="50000"/>
                  </a:schemeClr>
                </a:solidFill>
                <a:effectLst/>
                <a:latin typeface="Times New Roman" panose="02020603050405020304" pitchFamily="18" charset="0"/>
                <a:ea typeface="Cambria" panose="02040503050406030204" pitchFamily="18" charset="0"/>
                <a:cs typeface="Times New Roman" panose="02020603050405020304" pitchFamily="18" charset="0"/>
              </a:rPr>
              <a:t>Manual Operations</a:t>
            </a:r>
          </a:p>
          <a:p>
            <a:pPr marR="0" lvl="0" algn="ctr" defTabSz="914400" rtl="0" eaLnBrk="0" fontAlgn="base" latinLnBrk="0" hangingPunct="0">
              <a:lnSpc>
                <a:spcPct val="100000"/>
              </a:lnSpc>
              <a:spcBef>
                <a:spcPct val="0"/>
              </a:spcBef>
              <a:spcAft>
                <a:spcPct val="0"/>
              </a:spcAft>
              <a:buClrTx/>
              <a:buSzTx/>
              <a:tabLst/>
            </a:pPr>
            <a:r>
              <a:rPr lang="en-US" altLang="en-US" dirty="0">
                <a:solidFill>
                  <a:schemeClr val="accent3">
                    <a:lumMod val="50000"/>
                  </a:schemeClr>
                </a:solidFill>
                <a:latin typeface="Times New Roman" panose="02020603050405020304" pitchFamily="18" charset="0"/>
                <a:ea typeface="Cambria" panose="02040503050406030204" pitchFamily="18" charset="0"/>
                <a:cs typeface="Times New Roman" panose="02020603050405020304" pitchFamily="18" charset="0"/>
              </a:rPr>
              <a:t>Converted to Automation</a:t>
            </a:r>
            <a:endParaRPr kumimoji="0" lang="en-US" altLang="en-US" sz="1800" i="0" u="none" strike="noStrike" cap="none" normalizeH="0" baseline="0" dirty="0">
              <a:ln>
                <a:noFill/>
              </a:ln>
              <a:solidFill>
                <a:schemeClr val="accent3">
                  <a:lumMod val="50000"/>
                </a:schemeClr>
              </a:solidFill>
              <a:effectLst/>
              <a:latin typeface="Times New Roman" panose="02020603050405020304" pitchFamily="18" charset="0"/>
              <a:ea typeface="Cambria" panose="02040503050406030204" pitchFamily="18" charset="0"/>
              <a:cs typeface="Times New Roman" panose="02020603050405020304" pitchFamily="18" charset="0"/>
            </a:endParaRPr>
          </a:p>
        </p:txBody>
      </p:sp>
      <p:pic>
        <p:nvPicPr>
          <p:cNvPr id="12" name="Picture 11">
            <a:extLst>
              <a:ext uri="{FF2B5EF4-FFF2-40B4-BE49-F238E27FC236}">
                <a16:creationId xmlns:a16="http://schemas.microsoft.com/office/drawing/2014/main" id="{D8BCF439-53A9-40E7-A32B-3BECAC7E1889}"/>
              </a:ext>
            </a:extLst>
          </p:cNvPr>
          <p:cNvPicPr>
            <a:picLocks noChangeAspect="1"/>
          </p:cNvPicPr>
          <p:nvPr/>
        </p:nvPicPr>
        <p:blipFill>
          <a:blip r:embed="rId3"/>
          <a:stretch>
            <a:fillRect/>
          </a:stretch>
        </p:blipFill>
        <p:spPr>
          <a:xfrm>
            <a:off x="3889002" y="3153090"/>
            <a:ext cx="3361367" cy="2385486"/>
          </a:xfrm>
          <a:prstGeom prst="rect">
            <a:avLst/>
          </a:prstGeom>
        </p:spPr>
      </p:pic>
      <p:sp>
        <p:nvSpPr>
          <p:cNvPr id="16" name="TextBox 15">
            <a:extLst>
              <a:ext uri="{FF2B5EF4-FFF2-40B4-BE49-F238E27FC236}">
                <a16:creationId xmlns:a16="http://schemas.microsoft.com/office/drawing/2014/main" id="{DF7FC1A6-0149-49D1-82CB-4E0A454D9FFD}"/>
              </a:ext>
            </a:extLst>
          </p:cNvPr>
          <p:cNvSpPr txBox="1"/>
          <p:nvPr/>
        </p:nvSpPr>
        <p:spPr>
          <a:xfrm>
            <a:off x="4472359" y="1807162"/>
            <a:ext cx="2415661" cy="646331"/>
          </a:xfrm>
          <a:prstGeom prst="rect">
            <a:avLst/>
          </a:prstGeom>
          <a:noFill/>
        </p:spPr>
        <p:txBody>
          <a:bodyPr wrap="square">
            <a:spAutoFit/>
          </a:bodyPr>
          <a:lstStyle/>
          <a:p>
            <a:pPr marR="0" lvl="0" algn="ctr" defTabSz="914400" rtl="0" eaLnBrk="0" fontAlgn="base" latinLnBrk="0" hangingPunct="0">
              <a:lnSpc>
                <a:spcPct val="100000"/>
              </a:lnSpc>
              <a:spcBef>
                <a:spcPct val="0"/>
              </a:spcBef>
              <a:spcAft>
                <a:spcPct val="0"/>
              </a:spcAft>
              <a:buClrTx/>
              <a:buSzTx/>
              <a:tabLst/>
            </a:pPr>
            <a:r>
              <a:rPr kumimoji="0" lang="en-US" altLang="en-US" sz="1800" i="0" u="none" strike="noStrike" cap="none" normalizeH="0" baseline="0" dirty="0">
                <a:ln>
                  <a:noFill/>
                </a:ln>
                <a:solidFill>
                  <a:schemeClr val="accent3">
                    <a:lumMod val="50000"/>
                  </a:schemeClr>
                </a:solidFill>
                <a:effectLst/>
                <a:latin typeface="Times New Roman" panose="02020603050405020304" pitchFamily="18" charset="0"/>
                <a:ea typeface="Cambria" panose="02040503050406030204" pitchFamily="18" charset="0"/>
                <a:cs typeface="Times New Roman" panose="02020603050405020304" pitchFamily="18" charset="0"/>
              </a:rPr>
              <a:t>Metadata read from Criteria Files</a:t>
            </a:r>
          </a:p>
        </p:txBody>
      </p:sp>
      <p:pic>
        <p:nvPicPr>
          <p:cNvPr id="26" name="Picture 25">
            <a:extLst>
              <a:ext uri="{FF2B5EF4-FFF2-40B4-BE49-F238E27FC236}">
                <a16:creationId xmlns:a16="http://schemas.microsoft.com/office/drawing/2014/main" id="{71E8F4EA-8F34-477D-9B2C-A4B6E1727276}"/>
              </a:ext>
            </a:extLst>
          </p:cNvPr>
          <p:cNvPicPr>
            <a:picLocks noChangeAspect="1"/>
          </p:cNvPicPr>
          <p:nvPr/>
        </p:nvPicPr>
        <p:blipFill>
          <a:blip r:embed="rId4"/>
          <a:stretch>
            <a:fillRect/>
          </a:stretch>
        </p:blipFill>
        <p:spPr>
          <a:xfrm>
            <a:off x="7339510" y="3152827"/>
            <a:ext cx="4102625" cy="2385486"/>
          </a:xfrm>
          <a:prstGeom prst="rect">
            <a:avLst/>
          </a:prstGeom>
        </p:spPr>
      </p:pic>
      <p:sp>
        <p:nvSpPr>
          <p:cNvPr id="30" name="TextBox 29">
            <a:extLst>
              <a:ext uri="{FF2B5EF4-FFF2-40B4-BE49-F238E27FC236}">
                <a16:creationId xmlns:a16="http://schemas.microsoft.com/office/drawing/2014/main" id="{12CAB5AE-68F3-46B0-B945-FA12D54AD6E0}"/>
              </a:ext>
            </a:extLst>
          </p:cNvPr>
          <p:cNvSpPr txBox="1"/>
          <p:nvPr/>
        </p:nvSpPr>
        <p:spPr>
          <a:xfrm>
            <a:off x="8313656" y="1728839"/>
            <a:ext cx="2415661" cy="923330"/>
          </a:xfrm>
          <a:prstGeom prst="rect">
            <a:avLst/>
          </a:prstGeom>
          <a:noFill/>
        </p:spPr>
        <p:txBody>
          <a:bodyPr wrap="square">
            <a:spAutoFit/>
          </a:bodyPr>
          <a:lstStyle/>
          <a:p>
            <a:pPr marR="0" lvl="0" algn="ctr" defTabSz="914400" rtl="0" eaLnBrk="0" fontAlgn="base" latinLnBrk="0" hangingPunct="0">
              <a:lnSpc>
                <a:spcPct val="100000"/>
              </a:lnSpc>
              <a:spcBef>
                <a:spcPct val="0"/>
              </a:spcBef>
              <a:spcAft>
                <a:spcPct val="0"/>
              </a:spcAft>
              <a:buClrTx/>
              <a:buSzTx/>
              <a:tabLst/>
            </a:pPr>
            <a:r>
              <a:rPr lang="en-US" altLang="en-US" dirty="0">
                <a:solidFill>
                  <a:schemeClr val="accent3">
                    <a:lumMod val="50000"/>
                  </a:schemeClr>
                </a:solidFill>
                <a:latin typeface="Times New Roman" panose="02020603050405020304" pitchFamily="18" charset="0"/>
                <a:ea typeface="Cambria" panose="02040503050406030204" pitchFamily="18" charset="0"/>
                <a:cs typeface="Times New Roman" panose="02020603050405020304" pitchFamily="18" charset="0"/>
              </a:rPr>
              <a:t>File Paths framed automatically for entire Data Bank Operations</a:t>
            </a:r>
            <a:endParaRPr kumimoji="0" lang="en-US" altLang="en-US" sz="1800" i="0" u="none" strike="noStrike" cap="none" normalizeH="0" baseline="0" dirty="0">
              <a:ln>
                <a:noFill/>
              </a:ln>
              <a:solidFill>
                <a:schemeClr val="accent3">
                  <a:lumMod val="50000"/>
                </a:schemeClr>
              </a:solidFill>
              <a:effectLst/>
              <a:latin typeface="Times New Roman" panose="020206030504050203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val="200438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FCCF3808-435A-4E9D-895A-D83D62BECE10}"/>
              </a:ext>
            </a:extLst>
          </p:cNvPr>
          <p:cNvSpPr>
            <a:spLocks noGrp="1"/>
          </p:cNvSpPr>
          <p:nvPr>
            <p:ph type="title"/>
          </p:nvPr>
        </p:nvSpPr>
        <p:spPr>
          <a:xfrm>
            <a:off x="592072" y="264688"/>
            <a:ext cx="10850063" cy="891682"/>
          </a:xfrm>
        </p:spPr>
        <p:txBody>
          <a:bodyPr>
            <a:normAutofit/>
          </a:bodyPr>
          <a:lstStyle/>
          <a:p>
            <a:r>
              <a:rPr lang="en-US" sz="2400" dirty="0">
                <a:solidFill>
                  <a:schemeClr val="accent2">
                    <a:lumMod val="40000"/>
                    <a:lumOff val="60000"/>
                  </a:schemeClr>
                </a:solidFill>
              </a:rPr>
              <a:t>Process High Volume of Data</a:t>
            </a:r>
          </a:p>
        </p:txBody>
      </p:sp>
      <p:graphicFrame>
        <p:nvGraphicFramePr>
          <p:cNvPr id="3" name="Diagram 2">
            <a:extLst>
              <a:ext uri="{FF2B5EF4-FFF2-40B4-BE49-F238E27FC236}">
                <a16:creationId xmlns:a16="http://schemas.microsoft.com/office/drawing/2014/main" id="{69DCD4D1-43C0-470A-81B2-CBD7F8D2E31E}"/>
              </a:ext>
            </a:extLst>
          </p:cNvPr>
          <p:cNvGraphicFramePr/>
          <p:nvPr>
            <p:extLst>
              <p:ext uri="{D42A27DB-BD31-4B8C-83A1-F6EECF244321}">
                <p14:modId xmlns:p14="http://schemas.microsoft.com/office/powerpoint/2010/main" val="1319584309"/>
              </p:ext>
            </p:extLst>
          </p:nvPr>
        </p:nvGraphicFramePr>
        <p:xfrm>
          <a:off x="1273631" y="710529"/>
          <a:ext cx="7642382" cy="61362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0F4424E8-8FF0-4AA5-B040-E01D703615F5}"/>
              </a:ext>
            </a:extLst>
          </p:cNvPr>
          <p:cNvSpPr txBox="1"/>
          <p:nvPr/>
        </p:nvSpPr>
        <p:spPr>
          <a:xfrm>
            <a:off x="2818070" y="5576077"/>
            <a:ext cx="6097943" cy="646331"/>
          </a:xfrm>
          <a:prstGeom prst="rect">
            <a:avLst/>
          </a:prstGeom>
          <a:noFill/>
        </p:spPr>
        <p:txBody>
          <a:bodyPr wrap="square">
            <a:spAutoFit/>
          </a:bodyPr>
          <a:lstStyle/>
          <a:p>
            <a:pPr marR="0" lvl="0" algn="ctr" defTabSz="914400" rtl="0" eaLnBrk="0" fontAlgn="base" latinLnBrk="0" hangingPunct="0">
              <a:lnSpc>
                <a:spcPct val="100000"/>
              </a:lnSpc>
              <a:spcBef>
                <a:spcPct val="0"/>
              </a:spcBef>
              <a:spcAft>
                <a:spcPct val="0"/>
              </a:spcAft>
              <a:buClrTx/>
              <a:buSzTx/>
              <a:tabLst/>
            </a:pPr>
            <a:r>
              <a:rPr kumimoji="0" lang="en-US" altLang="en-US" sz="1800" i="0" u="none" strike="noStrike" cap="none" normalizeH="0" baseline="0" dirty="0">
                <a:ln>
                  <a:noFill/>
                </a:ln>
                <a:solidFill>
                  <a:schemeClr val="accent3">
                    <a:lumMod val="50000"/>
                  </a:schemeClr>
                </a:solidFill>
                <a:effectLst/>
                <a:latin typeface="Times New Roman" panose="02020603050405020304" pitchFamily="18" charset="0"/>
                <a:ea typeface="Cambria" panose="02040503050406030204" pitchFamily="18" charset="0"/>
                <a:cs typeface="Times New Roman" panose="02020603050405020304" pitchFamily="18" charset="0"/>
              </a:rPr>
              <a:t>Parallel Executions from multiple locations, multiple users – </a:t>
            </a:r>
            <a:r>
              <a:rPr lang="en-US" altLang="en-US" dirty="0">
                <a:solidFill>
                  <a:schemeClr val="accent3">
                    <a:lumMod val="50000"/>
                  </a:schemeClr>
                </a:solidFill>
                <a:latin typeface="Times New Roman" panose="02020603050405020304" pitchFamily="18" charset="0"/>
                <a:ea typeface="Cambria" panose="02040503050406030204" pitchFamily="18" charset="0"/>
                <a:cs typeface="Times New Roman" panose="02020603050405020304" pitchFamily="18" charset="0"/>
              </a:rPr>
              <a:t>with </a:t>
            </a:r>
            <a:r>
              <a:rPr kumimoji="0" lang="en-US" altLang="en-US" sz="1800" i="0" u="none" strike="noStrike" cap="none" normalizeH="0" baseline="0" dirty="0">
                <a:ln>
                  <a:noFill/>
                </a:ln>
                <a:solidFill>
                  <a:schemeClr val="accent3">
                    <a:lumMod val="50000"/>
                  </a:schemeClr>
                </a:solidFill>
                <a:effectLst/>
                <a:latin typeface="Times New Roman" panose="02020603050405020304" pitchFamily="18" charset="0"/>
                <a:ea typeface="Cambria" panose="02040503050406030204" pitchFamily="18" charset="0"/>
                <a:cs typeface="Times New Roman" panose="02020603050405020304" pitchFamily="18" charset="0"/>
              </a:rPr>
              <a:t>centralized data base and tracking</a:t>
            </a:r>
          </a:p>
        </p:txBody>
      </p:sp>
      <p:sp>
        <p:nvSpPr>
          <p:cNvPr id="4" name="TextBox 3">
            <a:extLst>
              <a:ext uri="{FF2B5EF4-FFF2-40B4-BE49-F238E27FC236}">
                <a16:creationId xmlns:a16="http://schemas.microsoft.com/office/drawing/2014/main" id="{AF23541A-BCAF-4B44-B59B-95046CB7F053}"/>
              </a:ext>
            </a:extLst>
          </p:cNvPr>
          <p:cNvSpPr txBox="1"/>
          <p:nvPr/>
        </p:nvSpPr>
        <p:spPr>
          <a:xfrm>
            <a:off x="733204" y="4453599"/>
            <a:ext cx="2360596" cy="646331"/>
          </a:xfrm>
          <a:prstGeom prst="rect">
            <a:avLst/>
          </a:prstGeom>
          <a:noFill/>
        </p:spPr>
        <p:txBody>
          <a:bodyPr wrap="square" rtlCol="0">
            <a:spAutoFit/>
          </a:bodyPr>
          <a:lstStyle/>
          <a:p>
            <a:r>
              <a:rPr lang="en-US" dirty="0">
                <a:solidFill>
                  <a:schemeClr val="tx2">
                    <a:lumMod val="50000"/>
                  </a:schemeClr>
                </a:solidFill>
                <a:latin typeface="Cambria" panose="02040503050406030204" pitchFamily="18" charset="0"/>
                <a:ea typeface="Cambria" panose="02040503050406030204" pitchFamily="18" charset="0"/>
              </a:rPr>
              <a:t>Multiple Document</a:t>
            </a:r>
          </a:p>
          <a:p>
            <a:r>
              <a:rPr lang="en-US" dirty="0">
                <a:solidFill>
                  <a:schemeClr val="tx2">
                    <a:lumMod val="50000"/>
                  </a:schemeClr>
                </a:solidFill>
                <a:latin typeface="Cambria" panose="02040503050406030204" pitchFamily="18" charset="0"/>
                <a:ea typeface="Cambria" panose="02040503050406030204" pitchFamily="18" charset="0"/>
              </a:rPr>
              <a:t>Multiple Sites</a:t>
            </a:r>
          </a:p>
        </p:txBody>
      </p:sp>
      <p:sp>
        <p:nvSpPr>
          <p:cNvPr id="8" name="TextBox 7">
            <a:extLst>
              <a:ext uri="{FF2B5EF4-FFF2-40B4-BE49-F238E27FC236}">
                <a16:creationId xmlns:a16="http://schemas.microsoft.com/office/drawing/2014/main" id="{8B44447A-95FC-4F50-B383-717D821887C5}"/>
              </a:ext>
            </a:extLst>
          </p:cNvPr>
          <p:cNvSpPr txBox="1"/>
          <p:nvPr/>
        </p:nvSpPr>
        <p:spPr>
          <a:xfrm>
            <a:off x="9165865" y="4453599"/>
            <a:ext cx="2345386" cy="646331"/>
          </a:xfrm>
          <a:prstGeom prst="rect">
            <a:avLst/>
          </a:prstGeom>
          <a:noFill/>
        </p:spPr>
        <p:txBody>
          <a:bodyPr wrap="none" rtlCol="0">
            <a:spAutoFit/>
          </a:bodyPr>
          <a:lstStyle/>
          <a:p>
            <a:r>
              <a:rPr lang="en-US" dirty="0">
                <a:solidFill>
                  <a:schemeClr val="tx2">
                    <a:lumMod val="50000"/>
                  </a:schemeClr>
                </a:solidFill>
                <a:latin typeface="Cambria" panose="02040503050406030204" pitchFamily="18" charset="0"/>
                <a:ea typeface="Cambria" panose="02040503050406030204" pitchFamily="18" charset="0"/>
              </a:rPr>
              <a:t>Multiple Jira Requests</a:t>
            </a:r>
          </a:p>
          <a:p>
            <a:r>
              <a:rPr lang="en-US" dirty="0">
                <a:solidFill>
                  <a:schemeClr val="tx2">
                    <a:lumMod val="50000"/>
                  </a:schemeClr>
                </a:solidFill>
                <a:latin typeface="Cambria" panose="02040503050406030204" pitchFamily="18" charset="0"/>
                <a:ea typeface="Cambria" panose="02040503050406030204" pitchFamily="18" charset="0"/>
              </a:rPr>
              <a:t>Multiple Processes</a:t>
            </a:r>
          </a:p>
        </p:txBody>
      </p:sp>
      <p:sp>
        <p:nvSpPr>
          <p:cNvPr id="7" name="Callout: Left Arrow 6">
            <a:extLst>
              <a:ext uri="{FF2B5EF4-FFF2-40B4-BE49-F238E27FC236}">
                <a16:creationId xmlns:a16="http://schemas.microsoft.com/office/drawing/2014/main" id="{77C0E140-05AC-4D5E-89AB-A73D79A50A8F}"/>
              </a:ext>
            </a:extLst>
          </p:cNvPr>
          <p:cNvSpPr/>
          <p:nvPr/>
        </p:nvSpPr>
        <p:spPr>
          <a:xfrm>
            <a:off x="8788868" y="4039008"/>
            <a:ext cx="2750356" cy="1537069"/>
          </a:xfrm>
          <a:prstGeom prst="leftArrowCallout">
            <a:avLst>
              <a:gd name="adj1" fmla="val 25000"/>
              <a:gd name="adj2" fmla="val 25000"/>
              <a:gd name="adj3" fmla="val 15848"/>
              <a:gd name="adj4" fmla="val 86431"/>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dirty="0"/>
          </a:p>
        </p:txBody>
      </p:sp>
      <p:sp>
        <p:nvSpPr>
          <p:cNvPr id="10" name="Callout: Left Arrow 9">
            <a:extLst>
              <a:ext uri="{FF2B5EF4-FFF2-40B4-BE49-F238E27FC236}">
                <a16:creationId xmlns:a16="http://schemas.microsoft.com/office/drawing/2014/main" id="{834A28BC-064A-4F1C-B7EC-372DB3179774}"/>
              </a:ext>
            </a:extLst>
          </p:cNvPr>
          <p:cNvSpPr/>
          <p:nvPr/>
        </p:nvSpPr>
        <p:spPr>
          <a:xfrm flipH="1">
            <a:off x="680749" y="4095605"/>
            <a:ext cx="2399064" cy="1537069"/>
          </a:xfrm>
          <a:prstGeom prst="leftArrowCallout">
            <a:avLst>
              <a:gd name="adj1" fmla="val 25000"/>
              <a:gd name="adj2" fmla="val 25000"/>
              <a:gd name="adj3" fmla="val 15848"/>
              <a:gd name="adj4" fmla="val 86431"/>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dirty="0"/>
          </a:p>
        </p:txBody>
      </p:sp>
    </p:spTree>
    <p:extLst>
      <p:ext uri="{BB962C8B-B14F-4D97-AF65-F5344CB8AC3E}">
        <p14:creationId xmlns:p14="http://schemas.microsoft.com/office/powerpoint/2010/main" val="229685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FCCF3808-435A-4E9D-895A-D83D62BECE10}"/>
              </a:ext>
            </a:extLst>
          </p:cNvPr>
          <p:cNvSpPr>
            <a:spLocks noGrp="1"/>
          </p:cNvSpPr>
          <p:nvPr>
            <p:ph type="title"/>
          </p:nvPr>
        </p:nvSpPr>
        <p:spPr>
          <a:xfrm>
            <a:off x="592072" y="264688"/>
            <a:ext cx="10850063" cy="891682"/>
          </a:xfrm>
        </p:spPr>
        <p:txBody>
          <a:bodyPr>
            <a:normAutofit/>
          </a:bodyPr>
          <a:lstStyle/>
          <a:p>
            <a:r>
              <a:rPr lang="en-US" sz="2400" dirty="0">
                <a:solidFill>
                  <a:schemeClr val="accent2">
                    <a:lumMod val="40000"/>
                    <a:lumOff val="60000"/>
                  </a:schemeClr>
                </a:solidFill>
              </a:rPr>
              <a:t>Document Tracking and Recovery</a:t>
            </a:r>
          </a:p>
        </p:txBody>
      </p:sp>
      <p:pic>
        <p:nvPicPr>
          <p:cNvPr id="6" name="Picture 5">
            <a:extLst>
              <a:ext uri="{FF2B5EF4-FFF2-40B4-BE49-F238E27FC236}">
                <a16:creationId xmlns:a16="http://schemas.microsoft.com/office/drawing/2014/main" id="{8615E733-0254-4E4C-A9B6-CB1AC2F15819}"/>
              </a:ext>
            </a:extLst>
          </p:cNvPr>
          <p:cNvPicPr>
            <a:picLocks noChangeAspect="1"/>
          </p:cNvPicPr>
          <p:nvPr/>
        </p:nvPicPr>
        <p:blipFill>
          <a:blip r:embed="rId2"/>
          <a:stretch>
            <a:fillRect/>
          </a:stretch>
        </p:blipFill>
        <p:spPr>
          <a:xfrm>
            <a:off x="792209" y="2880126"/>
            <a:ext cx="3798953" cy="3326122"/>
          </a:xfrm>
          <a:prstGeom prst="rect">
            <a:avLst/>
          </a:prstGeom>
        </p:spPr>
      </p:pic>
      <p:pic>
        <p:nvPicPr>
          <p:cNvPr id="7" name="Picture 6">
            <a:extLst>
              <a:ext uri="{FF2B5EF4-FFF2-40B4-BE49-F238E27FC236}">
                <a16:creationId xmlns:a16="http://schemas.microsoft.com/office/drawing/2014/main" id="{1EA535BE-C1B1-4C50-9E82-C87D2C195C86}"/>
              </a:ext>
            </a:extLst>
          </p:cNvPr>
          <p:cNvPicPr>
            <a:picLocks noChangeAspect="1"/>
          </p:cNvPicPr>
          <p:nvPr/>
        </p:nvPicPr>
        <p:blipFill>
          <a:blip r:embed="rId3"/>
          <a:stretch>
            <a:fillRect/>
          </a:stretch>
        </p:blipFill>
        <p:spPr>
          <a:xfrm>
            <a:off x="4868369" y="2880126"/>
            <a:ext cx="6375761" cy="3367927"/>
          </a:xfrm>
          <a:prstGeom prst="rect">
            <a:avLst/>
          </a:prstGeom>
        </p:spPr>
      </p:pic>
      <p:sp>
        <p:nvSpPr>
          <p:cNvPr id="8" name="TextBox 7">
            <a:extLst>
              <a:ext uri="{FF2B5EF4-FFF2-40B4-BE49-F238E27FC236}">
                <a16:creationId xmlns:a16="http://schemas.microsoft.com/office/drawing/2014/main" id="{DA87DE65-6CC0-4B3B-B79E-FC5DFBC25741}"/>
              </a:ext>
            </a:extLst>
          </p:cNvPr>
          <p:cNvSpPr txBox="1"/>
          <p:nvPr/>
        </p:nvSpPr>
        <p:spPr>
          <a:xfrm>
            <a:off x="792209" y="1807252"/>
            <a:ext cx="3429144" cy="646331"/>
          </a:xfrm>
          <a:prstGeom prst="rect">
            <a:avLst/>
          </a:prstGeom>
          <a:noFill/>
        </p:spPr>
        <p:txBody>
          <a:bodyPr wrap="none" rtlCol="0">
            <a:spAutoFit/>
          </a:bodyPr>
          <a:lstStyle/>
          <a:p>
            <a:pPr algn="ctr"/>
            <a:r>
              <a:rPr lang="en-US" dirty="0">
                <a:latin typeface="Cambria" panose="02040503050406030204" pitchFamily="18" charset="0"/>
                <a:ea typeface="Cambria" panose="02040503050406030204" pitchFamily="18" charset="0"/>
              </a:rPr>
              <a:t>First Page which is initiated and</a:t>
            </a:r>
          </a:p>
          <a:p>
            <a:pPr algn="ctr"/>
            <a:r>
              <a:rPr lang="en-US" dirty="0">
                <a:latin typeface="Cambria" panose="02040503050406030204" pitchFamily="18" charset="0"/>
                <a:ea typeface="Cambria" panose="02040503050406030204" pitchFamily="18" charset="0"/>
              </a:rPr>
              <a:t>unprocessed</a:t>
            </a:r>
          </a:p>
        </p:txBody>
      </p:sp>
      <p:sp>
        <p:nvSpPr>
          <p:cNvPr id="9" name="TextBox 8">
            <a:extLst>
              <a:ext uri="{FF2B5EF4-FFF2-40B4-BE49-F238E27FC236}">
                <a16:creationId xmlns:a16="http://schemas.microsoft.com/office/drawing/2014/main" id="{3AE26FA4-CC18-47CF-B47D-1A2D7DDF0E14}"/>
              </a:ext>
            </a:extLst>
          </p:cNvPr>
          <p:cNvSpPr txBox="1"/>
          <p:nvPr/>
        </p:nvSpPr>
        <p:spPr>
          <a:xfrm>
            <a:off x="5383182" y="1605708"/>
            <a:ext cx="5644477" cy="1200329"/>
          </a:xfrm>
          <a:prstGeom prst="rect">
            <a:avLst/>
          </a:prstGeom>
          <a:noFill/>
        </p:spPr>
        <p:txBody>
          <a:bodyPr wrap="square" rtlCol="0">
            <a:spAutoFit/>
          </a:bodyPr>
          <a:lstStyle/>
          <a:p>
            <a:pPr algn="ctr"/>
            <a:r>
              <a:rPr lang="en-US" dirty="0">
                <a:latin typeface="Cambria" panose="02040503050406030204" pitchFamily="18" charset="0"/>
                <a:ea typeface="Cambria" panose="02040503050406030204" pitchFamily="18" charset="0"/>
              </a:rPr>
              <a:t>Second page, on which the pre-renaming process was executed, but others process are yet to be started.</a:t>
            </a:r>
          </a:p>
          <a:p>
            <a:pPr algn="ctr"/>
            <a:r>
              <a:rPr lang="en-US" dirty="0">
                <a:latin typeface="Cambria" panose="02040503050406030204" pitchFamily="18" charset="0"/>
                <a:ea typeface="Cambria" panose="02040503050406030204" pitchFamily="18" charset="0"/>
              </a:rPr>
              <a:t>With each completed process, the flags will be set ON and relevant information will be added</a:t>
            </a:r>
          </a:p>
        </p:txBody>
      </p:sp>
    </p:spTree>
    <p:extLst>
      <p:ext uri="{BB962C8B-B14F-4D97-AF65-F5344CB8AC3E}">
        <p14:creationId xmlns:p14="http://schemas.microsoft.com/office/powerpoint/2010/main" val="612995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USERHIDDEN" val="1"/>
</p:tagLst>
</file>

<file path=ppt/tags/tag6.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ICE Mortgage Technology 2020">
  <a:themeElements>
    <a:clrScheme name="Ellie Mae 2017">
      <a:dk1>
        <a:srgbClr val="5D5F63"/>
      </a:dk1>
      <a:lt1>
        <a:srgbClr val="FFFFFF"/>
      </a:lt1>
      <a:dk2>
        <a:srgbClr val="0069A9"/>
      </a:dk2>
      <a:lt2>
        <a:srgbClr val="A7A9AC"/>
      </a:lt2>
      <a:accent1>
        <a:srgbClr val="00ADDA"/>
      </a:accent1>
      <a:accent2>
        <a:srgbClr val="39A154"/>
      </a:accent2>
      <a:accent3>
        <a:srgbClr val="448A8F"/>
      </a:accent3>
      <a:accent4>
        <a:srgbClr val="EF662F"/>
      </a:accent4>
      <a:accent5>
        <a:srgbClr val="F59131"/>
      </a:accent5>
      <a:accent6>
        <a:srgbClr val="FBB431"/>
      </a:accent6>
      <a:hlink>
        <a:srgbClr val="00ADDA"/>
      </a:hlink>
      <a:folHlink>
        <a:srgbClr val="02558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cap="flat" cmpd="sng" algn="ctr">
          <a:solidFill>
            <a:schemeClr val="bg2"/>
          </a:solidFill>
          <a:prstDash val="solid"/>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Ellie Mae 2017">
      <a:dk1>
        <a:srgbClr val="5D5F63"/>
      </a:dk1>
      <a:lt1>
        <a:srgbClr val="FFFFFF"/>
      </a:lt1>
      <a:dk2>
        <a:srgbClr val="0069A9"/>
      </a:dk2>
      <a:lt2>
        <a:srgbClr val="A7A9AC"/>
      </a:lt2>
      <a:accent1>
        <a:srgbClr val="00ADDA"/>
      </a:accent1>
      <a:accent2>
        <a:srgbClr val="39A154"/>
      </a:accent2>
      <a:accent3>
        <a:srgbClr val="448A8F"/>
      </a:accent3>
      <a:accent4>
        <a:srgbClr val="EF662F"/>
      </a:accent4>
      <a:accent5>
        <a:srgbClr val="F59131"/>
      </a:accent5>
      <a:accent6>
        <a:srgbClr val="FBB431"/>
      </a:accent6>
      <a:hlink>
        <a:srgbClr val="00ADDA"/>
      </a:hlink>
      <a:folHlink>
        <a:srgbClr val="02558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63A156E2B3E84694A27B91F43A3382" ma:contentTypeVersion="7" ma:contentTypeDescription="Create a new document." ma:contentTypeScope="" ma:versionID="259e2c553d3090c3da495eb7e39dab72">
  <xsd:schema xmlns:xsd="http://www.w3.org/2001/XMLSchema" xmlns:xs="http://www.w3.org/2001/XMLSchema" xmlns:p="http://schemas.microsoft.com/office/2006/metadata/properties" xmlns:ns2="3a68c914-4854-43ac-ae18-1c95029073ec" xmlns:ns3="6843ce30-b4f3-4c16-8d74-ee0ff8637943" targetNamespace="http://schemas.microsoft.com/office/2006/metadata/properties" ma:root="true" ma:fieldsID="aa6cebfa2b2362524991f2253c667bad" ns2:_="" ns3:_="">
    <xsd:import namespace="3a68c914-4854-43ac-ae18-1c95029073ec"/>
    <xsd:import namespace="6843ce30-b4f3-4c16-8d74-ee0ff8637943"/>
    <xsd:element name="properties">
      <xsd:complexType>
        <xsd:sequence>
          <xsd:element name="documentManagement">
            <xsd:complexType>
              <xsd:all>
                <xsd:element ref="ns2:UnilyIsFeaturedDocument" minOccurs="0"/>
                <xsd:element ref="ns3:MediaServiceMetadata" minOccurs="0"/>
                <xsd:element ref="ns3:MediaServiceFastMetadata" minOccurs="0"/>
                <xsd:element ref="ns3:MediaServiceAutoKeyPoints" minOccurs="0"/>
                <xsd:element ref="ns3:MediaServiceKeyPoints" minOccurs="0"/>
                <xsd:element ref="ns2:SharedWithUsers" minOccurs="0"/>
                <xsd:element ref="ns2:SharedWithDetail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68c914-4854-43ac-ae18-1c95029073ec" elementFormDefault="qualified">
    <xsd:import namespace="http://schemas.microsoft.com/office/2006/documentManagement/types"/>
    <xsd:import namespace="http://schemas.microsoft.com/office/infopath/2007/PartnerControls"/>
    <xsd:element name="UnilyIsFeaturedDocument" ma:index="8" nillable="true" ma:displayName="Is Featured Document" ma:internalName="UnilyIsFeaturedDocument">
      <xsd:simpleType>
        <xsd:restriction base="dms:Boolean"/>
      </xsd:simple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843ce30-b4f3-4c16-8d74-ee0ff8637943"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UnilyIsFeaturedDocument xmlns="3a68c914-4854-43ac-ae18-1c95029073e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029296-5BC5-46C9-93E5-18C9836BBB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a68c914-4854-43ac-ae18-1c95029073ec"/>
    <ds:schemaRef ds:uri="6843ce30-b4f3-4c16-8d74-ee0ff86379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585AFA7-D55E-40FD-B259-7BE099A299C2}">
  <ds:schemaRefs>
    <ds:schemaRef ds:uri="http://schemas.microsoft.com/office/infopath/2007/PartnerControl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www.w3.org/XML/1998/namespace"/>
    <ds:schemaRef ds:uri="6843ce30-b4f3-4c16-8d74-ee0ff8637943"/>
    <ds:schemaRef ds:uri="3a68c914-4854-43ac-ae18-1c95029073ec"/>
    <ds:schemaRef ds:uri="http://schemas.microsoft.com/office/2006/metadata/properties"/>
  </ds:schemaRefs>
</ds:datastoreItem>
</file>

<file path=customXml/itemProps3.xml><?xml version="1.0" encoding="utf-8"?>
<ds:datastoreItem xmlns:ds="http://schemas.openxmlformats.org/officeDocument/2006/customXml" ds:itemID="{A6978425-25EA-4AE9-ABF3-FAE10B6DB5A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75793</TotalTime>
  <Words>1223</Words>
  <Application>Microsoft Office PowerPoint</Application>
  <PresentationFormat>Widescreen</PresentationFormat>
  <Paragraphs>198</Paragraphs>
  <Slides>16</Slides>
  <Notes>1</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6</vt:i4>
      </vt:variant>
    </vt:vector>
  </HeadingPairs>
  <TitlesOfParts>
    <vt:vector size="25" baseType="lpstr">
      <vt:lpstr>.AppleSystemUIFont</vt:lpstr>
      <vt:lpstr>.LucidaGrandeUI</vt:lpstr>
      <vt:lpstr>Arial</vt:lpstr>
      <vt:lpstr>Britannic Bold</vt:lpstr>
      <vt:lpstr>Calibri</vt:lpstr>
      <vt:lpstr>Cambria</vt:lpstr>
      <vt:lpstr>Times New Roman</vt:lpstr>
      <vt:lpstr>Wingdings</vt:lpstr>
      <vt:lpstr>ICE Mortgage Technology 2020</vt:lpstr>
      <vt:lpstr>MLOPSDatabank 1.0 Feature Deck</vt:lpstr>
      <vt:lpstr>Index</vt:lpstr>
      <vt:lpstr>PowerPoint Presentation</vt:lpstr>
      <vt:lpstr>How Automation Works</vt:lpstr>
      <vt:lpstr>Feature Deck</vt:lpstr>
      <vt:lpstr>Ease of Setup and Maintenance</vt:lpstr>
      <vt:lpstr>Less Manual Intervention</vt:lpstr>
      <vt:lpstr>Process High Volume of Data</vt:lpstr>
      <vt:lpstr>Document Tracking and Recovery</vt:lpstr>
      <vt:lpstr>Data Analytics</vt:lpstr>
      <vt:lpstr>Scalable Cloud based Architecture</vt:lpstr>
      <vt:lpstr>Think Automation way</vt:lpstr>
      <vt:lpstr>Databank Mind Map – Step 1 Inventory</vt:lpstr>
      <vt:lpstr>Databank Mind Map – Step 2 ADE</vt:lpstr>
      <vt:lpstr>Databank Mind Map – Step 3 Analytics</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ha Dhandhania</dc:creator>
  <cp:lastModifiedBy>Omkar Sonar</cp:lastModifiedBy>
  <cp:revision>1017</cp:revision>
  <dcterms:created xsi:type="dcterms:W3CDTF">2017-08-23T20:27:42Z</dcterms:created>
  <dcterms:modified xsi:type="dcterms:W3CDTF">2022-08-18T04:5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0710406</vt:lpwstr>
  </property>
  <property fmtid="{D5CDD505-2E9C-101B-9397-08002B2CF9AE}" pid="3" name="NXPowerLiteSettings">
    <vt:lpwstr>C980073804F000</vt:lpwstr>
  </property>
  <property fmtid="{D5CDD505-2E9C-101B-9397-08002B2CF9AE}" pid="4" name="NXPowerLiteVersion">
    <vt:lpwstr>D7.1.5</vt:lpwstr>
  </property>
  <property fmtid="{D5CDD505-2E9C-101B-9397-08002B2CF9AE}" pid="5" name="ContentTypeId">
    <vt:lpwstr>0x0101003363A156E2B3E84694A27B91F43A3382</vt:lpwstr>
  </property>
  <property fmtid="{D5CDD505-2E9C-101B-9397-08002B2CF9AE}" pid="6" name="UnilyDocumentCategory">
    <vt:lpwstr/>
  </property>
  <property fmtid="{D5CDD505-2E9C-101B-9397-08002B2CF9AE}" pid="7" name="k28713eeb10b40b4a345c7b082ec4364">
    <vt:lpwstr/>
  </property>
  <property fmtid="{D5CDD505-2E9C-101B-9397-08002B2CF9AE}" pid="8" name="EM_x002d_Type">
    <vt:lpwstr/>
  </property>
  <property fmtid="{D5CDD505-2E9C-101B-9397-08002B2CF9AE}" pid="9" name="EM-State">
    <vt:lpwstr>2;#Live|78d94324-0ef9-4b78-b6b5-52ca221db665</vt:lpwstr>
  </property>
  <property fmtid="{D5CDD505-2E9C-101B-9397-08002B2CF9AE}" pid="10" name="EM-Dept">
    <vt:lpwstr>12;#Marketing|a2948bae-5c5b-4fb5-b3a7-08172a5403b7</vt:lpwstr>
  </property>
  <property fmtid="{D5CDD505-2E9C-101B-9397-08002B2CF9AE}" pid="11" name="EM_x002d_Class">
    <vt:lpwstr/>
  </property>
  <property fmtid="{D5CDD505-2E9C-101B-9397-08002B2CF9AE}" pid="12" name="EM_x002d_Org">
    <vt:lpwstr/>
  </property>
  <property fmtid="{D5CDD505-2E9C-101B-9397-08002B2CF9AE}" pid="13" name="hd57b20ce3f4418ca9929ffd54e5a3a3">
    <vt:lpwstr/>
  </property>
  <property fmtid="{D5CDD505-2E9C-101B-9397-08002B2CF9AE}" pid="14" name="EM-Org">
    <vt:lpwstr/>
  </property>
  <property fmtid="{D5CDD505-2E9C-101B-9397-08002B2CF9AE}" pid="15" name="EM-Class">
    <vt:lpwstr/>
  </property>
  <property fmtid="{D5CDD505-2E9C-101B-9397-08002B2CF9AE}" pid="16" name="EM-Type">
    <vt:lpwstr/>
  </property>
</Properties>
</file>